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7.xml" ContentType="application/vnd.openxmlformats-officedocument.theme+xml"/>
  <Override PartName="/ppt/tags/tag4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9" r:id="rId1"/>
    <p:sldMasterId id="2147483730" r:id="rId2"/>
    <p:sldMasterId id="2147483716" r:id="rId3"/>
    <p:sldMasterId id="2147483708" r:id="rId4"/>
    <p:sldMasterId id="2147483711" r:id="rId5"/>
    <p:sldMasterId id="2147483742" r:id="rId6"/>
    <p:sldMasterId id="2147483755" r:id="rId7"/>
  </p:sldMasterIdLst>
  <p:notesMasterIdLst>
    <p:notesMasterId r:id="rId9"/>
  </p:notesMasterIdLst>
  <p:handoutMasterIdLst>
    <p:handoutMasterId r:id="rId10"/>
  </p:handoutMasterIdLst>
  <p:sldIdLst>
    <p:sldId id="496" r:id="rId8"/>
  </p:sldIdLst>
  <p:sldSz cx="12801600" cy="9601200" type="A3"/>
  <p:notesSz cx="9872663" cy="6797675"/>
  <p:defaultTextStyle>
    <a:defPPr>
      <a:defRPr lang="en-US"/>
    </a:defPPr>
    <a:lvl1pPr marL="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1pPr>
    <a:lvl2pPr marL="64008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2pPr>
    <a:lvl3pPr marL="128016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3pPr>
    <a:lvl4pPr marL="192024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4pPr>
    <a:lvl5pPr marL="256032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5pPr>
    <a:lvl6pPr marL="320040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6pPr>
    <a:lvl7pPr marL="384048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7pPr>
    <a:lvl8pPr marL="448056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8pPr>
    <a:lvl9pPr marL="512064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024">
          <p15:clr>
            <a:srgbClr val="A4A3A4"/>
          </p15:clr>
        </p15:guide>
        <p15:guide id="4" pos="403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nna Moore" initials="AM" lastIdx="14" clrIdx="0"/>
  <p:cmAuthor id="1" name="Steve Ryan" initials="SR" lastIdx="2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EA34"/>
    <a:srgbClr val="F8F200"/>
    <a:srgbClr val="A4D620"/>
    <a:srgbClr val="BD019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91" autoAdjust="0"/>
    <p:restoredTop sz="94434" autoAdjust="0"/>
  </p:normalViewPr>
  <p:slideViewPr>
    <p:cSldViewPr snapToGrid="0" snapToObjects="1">
      <p:cViewPr>
        <p:scale>
          <a:sx n="60" d="100"/>
          <a:sy n="60" d="100"/>
        </p:scale>
        <p:origin x="1056" y="-294"/>
      </p:cViewPr>
      <p:guideLst>
        <p:guide orient="horz" pos="2160"/>
        <p:guide pos="2880"/>
        <p:guide orient="horz" pos="3024"/>
        <p:guide pos="4032"/>
      </p:guideLst>
    </p:cSldViewPr>
  </p:slideViewPr>
  <p:outlineViewPr>
    <p:cViewPr>
      <p:scale>
        <a:sx n="33" d="100"/>
        <a:sy n="33" d="100"/>
      </p:scale>
      <p:origin x="0" y="602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76" d="100"/>
          <a:sy n="76" d="100"/>
        </p:scale>
        <p:origin x="1716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277135" cy="340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6457410"/>
            <a:ext cx="4277135" cy="3402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615199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278154" cy="33988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592225" y="0"/>
            <a:ext cx="4278154" cy="33988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091D2E-9552-C147-B7C4-5AE05C225CD4}" type="datetimeFigureOut">
              <a:rPr lang="en-US" smtClean="0"/>
              <a:t>4/4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236913" y="509588"/>
            <a:ext cx="3398837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87267" y="3228896"/>
            <a:ext cx="7898130" cy="30589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56612"/>
            <a:ext cx="4278154" cy="3398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592225" y="6456612"/>
            <a:ext cx="4278154" cy="3398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447537-647E-F34F-A9B5-2267D3F7007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56322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64008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1pPr>
    <a:lvl2pPr marL="640080" algn="l" defTabSz="64008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2pPr>
    <a:lvl3pPr marL="1280160" algn="l" defTabSz="64008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3pPr>
    <a:lvl4pPr marL="1920240" algn="l" defTabSz="64008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4pPr>
    <a:lvl5pPr marL="2560320" algn="l" defTabSz="64008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5pPr>
    <a:lvl6pPr marL="3200400" algn="l" defTabSz="64008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6pPr>
    <a:lvl7pPr marL="3840480" algn="l" defTabSz="64008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7pPr>
    <a:lvl8pPr marL="4480560" algn="l" defTabSz="64008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8pPr>
    <a:lvl9pPr marL="5120640" algn="l" defTabSz="64008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2.jpeg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.xml"/><Relationship Id="rId4" Type="http://schemas.openxmlformats.org/officeDocument/2006/relationships/image" Target="../media/image2.jpe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.xml"/><Relationship Id="rId4" Type="http://schemas.openxmlformats.org/officeDocument/2006/relationships/image" Target="../media/image2.jpeg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jpe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2281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losing slide_own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796011" y="3187621"/>
            <a:ext cx="5242878" cy="2117035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2200">
                <a:solidFill>
                  <a:srgbClr val="006298"/>
                </a:solidFill>
              </a:defRPr>
            </a:lvl1pPr>
            <a:lvl2pPr marL="640080" indent="0">
              <a:buNone/>
              <a:defRPr sz="2200">
                <a:solidFill>
                  <a:srgbClr val="006298"/>
                </a:solidFill>
              </a:defRPr>
            </a:lvl2pPr>
            <a:lvl3pPr marL="1280160" indent="0">
              <a:buNone/>
              <a:defRPr sz="2200">
                <a:solidFill>
                  <a:srgbClr val="006298"/>
                </a:solidFill>
              </a:defRPr>
            </a:lvl3pPr>
            <a:lvl4pPr marL="1920240" indent="0">
              <a:buNone/>
              <a:defRPr sz="2200">
                <a:solidFill>
                  <a:srgbClr val="006298"/>
                </a:solidFill>
              </a:defRPr>
            </a:lvl4pPr>
            <a:lvl5pPr marL="2560320" indent="0">
              <a:buNone/>
              <a:defRPr sz="2200">
                <a:solidFill>
                  <a:srgbClr val="006298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796009" y="2582760"/>
            <a:ext cx="5242182" cy="3576363"/>
          </a:xfrm>
          <a:prstGeom prst="rect">
            <a:avLst/>
          </a:prstGeom>
          <a:noFill/>
        </p:spPr>
        <p:txBody>
          <a:bodyPr wrap="square" lIns="128016" tIns="64008" rIns="128016" bIns="64008" rtlCol="0">
            <a:spAutoFit/>
          </a:bodyPr>
          <a:lstStyle/>
          <a:p>
            <a:r>
              <a:rPr lang="en-GB" sz="2200" dirty="0">
                <a:solidFill>
                  <a:srgbClr val="006298"/>
                </a:solidFill>
              </a:rPr>
              <a:t>For more information please contact:</a:t>
            </a:r>
          </a:p>
          <a:p>
            <a:endParaRPr lang="en-GB" sz="2200" dirty="0">
              <a:solidFill>
                <a:srgbClr val="006298"/>
              </a:solidFill>
            </a:endParaRPr>
          </a:p>
          <a:p>
            <a:endParaRPr lang="en-GB" sz="2200" dirty="0">
              <a:solidFill>
                <a:srgbClr val="006298"/>
              </a:solidFill>
            </a:endParaRPr>
          </a:p>
          <a:p>
            <a:endParaRPr lang="en-GB" sz="2200" dirty="0">
              <a:solidFill>
                <a:srgbClr val="006298"/>
              </a:solidFill>
            </a:endParaRPr>
          </a:p>
          <a:p>
            <a:endParaRPr lang="en-GB" sz="2200" dirty="0">
              <a:solidFill>
                <a:srgbClr val="006298"/>
              </a:solidFill>
            </a:endParaRPr>
          </a:p>
          <a:p>
            <a:endParaRPr lang="en-GB" sz="2200" dirty="0">
              <a:solidFill>
                <a:srgbClr val="006298"/>
              </a:solidFill>
            </a:endParaRPr>
          </a:p>
          <a:p>
            <a:endParaRPr lang="en-GB" sz="2200" dirty="0">
              <a:solidFill>
                <a:srgbClr val="006298"/>
              </a:solidFill>
            </a:endParaRPr>
          </a:p>
          <a:p>
            <a:r>
              <a:rPr lang="en-GB" sz="2200" dirty="0">
                <a:solidFill>
                  <a:srgbClr val="006298"/>
                </a:solidFill>
              </a:rPr>
              <a:t> </a:t>
            </a:r>
          </a:p>
          <a:p>
            <a:r>
              <a:rPr lang="en-GB" sz="2200" dirty="0">
                <a:solidFill>
                  <a:srgbClr val="006298"/>
                </a:solidFill>
              </a:rPr>
              <a:t>www.uclpartners.com </a:t>
            </a:r>
          </a:p>
          <a:p>
            <a:r>
              <a:rPr lang="en-GB" sz="2200" dirty="0">
                <a:solidFill>
                  <a:srgbClr val="006298"/>
                </a:solidFill>
              </a:rPr>
              <a:t>@uclpartners</a:t>
            </a:r>
          </a:p>
        </p:txBody>
      </p:sp>
    </p:spTree>
    <p:extLst>
      <p:ext uri="{BB962C8B-B14F-4D97-AF65-F5344CB8AC3E}">
        <p14:creationId xmlns:p14="http://schemas.microsoft.com/office/powerpoint/2010/main" val="639206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00200" y="1571308"/>
            <a:ext cx="9601200" cy="3342640"/>
          </a:xfrm>
        </p:spPr>
        <p:txBody>
          <a:bodyPr anchor="b"/>
          <a:lstStyle>
            <a:lvl1pPr algn="ctr">
              <a:defRPr sz="8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0200" y="5042853"/>
            <a:ext cx="9601200" cy="2318067"/>
          </a:xfrm>
        </p:spPr>
        <p:txBody>
          <a:bodyPr/>
          <a:lstStyle>
            <a:lvl1pPr marL="0" indent="0" algn="ctr">
              <a:buNone/>
              <a:defRPr sz="3400"/>
            </a:lvl1pPr>
            <a:lvl2pPr marL="640080" indent="0" algn="ctr">
              <a:buNone/>
              <a:defRPr sz="2800"/>
            </a:lvl2pPr>
            <a:lvl3pPr marL="1280160" indent="0" algn="ctr">
              <a:buNone/>
              <a:defRPr sz="2500"/>
            </a:lvl3pPr>
            <a:lvl4pPr marL="1920240" indent="0" algn="ctr">
              <a:buNone/>
              <a:defRPr sz="2200"/>
            </a:lvl4pPr>
            <a:lvl5pPr marL="2560320" indent="0" algn="ctr">
              <a:buNone/>
              <a:defRPr sz="2200"/>
            </a:lvl5pPr>
            <a:lvl6pPr marL="3200400" indent="0" algn="ctr">
              <a:buNone/>
              <a:defRPr sz="2200"/>
            </a:lvl6pPr>
            <a:lvl7pPr marL="3840480" indent="0" algn="ctr">
              <a:buNone/>
              <a:defRPr sz="2200"/>
            </a:lvl7pPr>
            <a:lvl8pPr marL="4480560" indent="0" algn="ctr">
              <a:buNone/>
              <a:defRPr sz="2200"/>
            </a:lvl8pPr>
            <a:lvl9pPr marL="5120640" indent="0" algn="ctr">
              <a:buNone/>
              <a:defRPr sz="2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848907-1966-4A26-AC64-AAACD4B8710E}" type="datetimeFigureOut">
              <a:rPr lang="en-GB" smtClean="0"/>
              <a:t>04/04/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F6F-EE41-49A8-9A1A-34C4605C6AA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248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848907-1966-4A26-AC64-AAACD4B8710E}" type="datetimeFigureOut">
              <a:rPr lang="en-GB" smtClean="0"/>
              <a:t>04/04/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F6F-EE41-49A8-9A1A-34C4605C6AA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74406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3443" y="2393634"/>
            <a:ext cx="11041380" cy="3993832"/>
          </a:xfrm>
        </p:spPr>
        <p:txBody>
          <a:bodyPr anchor="b"/>
          <a:lstStyle>
            <a:lvl1pPr>
              <a:defRPr sz="8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73443" y="6425249"/>
            <a:ext cx="11041380" cy="2100262"/>
          </a:xfrm>
        </p:spPr>
        <p:txBody>
          <a:bodyPr/>
          <a:lstStyle>
            <a:lvl1pPr marL="0" indent="0">
              <a:buNone/>
              <a:defRPr sz="3400">
                <a:solidFill>
                  <a:schemeClr val="tx1">
                    <a:tint val="75000"/>
                  </a:schemeClr>
                </a:solidFill>
              </a:defRPr>
            </a:lvl1pPr>
            <a:lvl2pPr marL="64008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marL="1280160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3pPr>
            <a:lvl4pPr marL="192024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4pPr>
            <a:lvl5pPr marL="256032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5pPr>
            <a:lvl6pPr marL="320040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6pPr>
            <a:lvl7pPr marL="384048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7pPr>
            <a:lvl8pPr marL="448056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8pPr>
            <a:lvl9pPr marL="512064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848907-1966-4A26-AC64-AAACD4B8710E}" type="datetimeFigureOut">
              <a:rPr lang="en-GB" smtClean="0"/>
              <a:t>04/04/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F6F-EE41-49A8-9A1A-34C4605C6AA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6523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80110" y="2555875"/>
            <a:ext cx="5414010" cy="60918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07480" y="2555875"/>
            <a:ext cx="5414010" cy="60918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848907-1966-4A26-AC64-AAACD4B8710E}" type="datetimeFigureOut">
              <a:rPr lang="en-GB" smtClean="0"/>
              <a:t>04/04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F6F-EE41-49A8-9A1A-34C4605C6AA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81583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333" y="511176"/>
            <a:ext cx="11041380" cy="18557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2334" y="2353628"/>
            <a:ext cx="5416232" cy="1153477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00" b="1"/>
            </a:lvl3pPr>
            <a:lvl4pPr marL="1920240" indent="0">
              <a:buNone/>
              <a:defRPr sz="2200" b="1"/>
            </a:lvl4pPr>
            <a:lvl5pPr marL="2560320" indent="0">
              <a:buNone/>
              <a:defRPr sz="2200" b="1"/>
            </a:lvl5pPr>
            <a:lvl6pPr marL="3200400" indent="0">
              <a:buNone/>
              <a:defRPr sz="2200" b="1"/>
            </a:lvl6pPr>
            <a:lvl7pPr marL="3840480" indent="0">
              <a:buNone/>
              <a:defRPr sz="2200" b="1"/>
            </a:lvl7pPr>
            <a:lvl8pPr marL="4480560" indent="0">
              <a:buNone/>
              <a:defRPr sz="2200" b="1"/>
            </a:lvl8pPr>
            <a:lvl9pPr marL="5120640" indent="0">
              <a:buNone/>
              <a:defRPr sz="2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82334" y="3507105"/>
            <a:ext cx="5416232" cy="515842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80810" y="2353628"/>
            <a:ext cx="5442903" cy="1153477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00" b="1"/>
            </a:lvl3pPr>
            <a:lvl4pPr marL="1920240" indent="0">
              <a:buNone/>
              <a:defRPr sz="2200" b="1"/>
            </a:lvl4pPr>
            <a:lvl5pPr marL="2560320" indent="0">
              <a:buNone/>
              <a:defRPr sz="2200" b="1"/>
            </a:lvl5pPr>
            <a:lvl6pPr marL="3200400" indent="0">
              <a:buNone/>
              <a:defRPr sz="2200" b="1"/>
            </a:lvl6pPr>
            <a:lvl7pPr marL="3840480" indent="0">
              <a:buNone/>
              <a:defRPr sz="2200" b="1"/>
            </a:lvl7pPr>
            <a:lvl8pPr marL="4480560" indent="0">
              <a:buNone/>
              <a:defRPr sz="2200" b="1"/>
            </a:lvl8pPr>
            <a:lvl9pPr marL="5120640" indent="0">
              <a:buNone/>
              <a:defRPr sz="2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80810" y="3507105"/>
            <a:ext cx="5442903" cy="515842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848907-1966-4A26-AC64-AAACD4B8710E}" type="datetimeFigureOut">
              <a:rPr lang="en-GB" smtClean="0"/>
              <a:t>04/04/2018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F6F-EE41-49A8-9A1A-34C4605C6AA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02355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848907-1966-4A26-AC64-AAACD4B8710E}" type="datetimeFigureOut">
              <a:rPr lang="en-GB" smtClean="0"/>
              <a:t>04/04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F6F-EE41-49A8-9A1A-34C4605C6AA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52480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848907-1966-4A26-AC64-AAACD4B8710E}" type="datetimeFigureOut">
              <a:rPr lang="en-GB" smtClean="0"/>
              <a:t>04/04/2018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F6F-EE41-49A8-9A1A-34C4605C6AA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5809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334" y="640080"/>
            <a:ext cx="4129405" cy="224028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42903" y="1382396"/>
            <a:ext cx="6480810" cy="6823075"/>
          </a:xfrm>
        </p:spPr>
        <p:txBody>
          <a:bodyPr/>
          <a:lstStyle>
            <a:lvl1pPr>
              <a:defRPr sz="4500"/>
            </a:lvl1pPr>
            <a:lvl2pPr>
              <a:defRPr sz="3900"/>
            </a:lvl2pPr>
            <a:lvl3pPr>
              <a:defRPr sz="340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2334" y="2880360"/>
            <a:ext cx="4129405" cy="5336223"/>
          </a:xfrm>
        </p:spPr>
        <p:txBody>
          <a:bodyPr/>
          <a:lstStyle>
            <a:lvl1pPr marL="0" indent="0">
              <a:buNone/>
              <a:defRPr sz="2200"/>
            </a:lvl1pPr>
            <a:lvl2pPr marL="640080" indent="0">
              <a:buNone/>
              <a:defRPr sz="2000"/>
            </a:lvl2pPr>
            <a:lvl3pPr marL="1280160" indent="0">
              <a:buNone/>
              <a:defRPr sz="1700"/>
            </a:lvl3pPr>
            <a:lvl4pPr marL="1920240" indent="0">
              <a:buNone/>
              <a:defRPr sz="1400"/>
            </a:lvl4pPr>
            <a:lvl5pPr marL="2560320" indent="0">
              <a:buNone/>
              <a:defRPr sz="1400"/>
            </a:lvl5pPr>
            <a:lvl6pPr marL="3200400" indent="0">
              <a:buNone/>
              <a:defRPr sz="1400"/>
            </a:lvl6pPr>
            <a:lvl7pPr marL="3840480" indent="0">
              <a:buNone/>
              <a:defRPr sz="1400"/>
            </a:lvl7pPr>
            <a:lvl8pPr marL="4480560" indent="0">
              <a:buNone/>
              <a:defRPr sz="1400"/>
            </a:lvl8pPr>
            <a:lvl9pPr marL="5120640" indent="0">
              <a:buNone/>
              <a:defRPr sz="1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848907-1966-4A26-AC64-AAACD4B8710E}" type="datetimeFigureOut">
              <a:rPr lang="en-GB" smtClean="0"/>
              <a:t>04/04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F6F-EE41-49A8-9A1A-34C4605C6AA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12800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334" y="640080"/>
            <a:ext cx="4129405" cy="224028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442903" y="1382396"/>
            <a:ext cx="6480810" cy="6823075"/>
          </a:xfrm>
        </p:spPr>
        <p:txBody>
          <a:bodyPr/>
          <a:lstStyle>
            <a:lvl1pPr marL="0" indent="0">
              <a:buNone/>
              <a:defRPr sz="4500"/>
            </a:lvl1pPr>
            <a:lvl2pPr marL="640080" indent="0">
              <a:buNone/>
              <a:defRPr sz="3900"/>
            </a:lvl2pPr>
            <a:lvl3pPr marL="1280160" indent="0">
              <a:buNone/>
              <a:defRPr sz="3400"/>
            </a:lvl3pPr>
            <a:lvl4pPr marL="1920240" indent="0">
              <a:buNone/>
              <a:defRPr sz="2800"/>
            </a:lvl4pPr>
            <a:lvl5pPr marL="2560320" indent="0">
              <a:buNone/>
              <a:defRPr sz="2800"/>
            </a:lvl5pPr>
            <a:lvl6pPr marL="3200400" indent="0">
              <a:buNone/>
              <a:defRPr sz="2800"/>
            </a:lvl6pPr>
            <a:lvl7pPr marL="3840480" indent="0">
              <a:buNone/>
              <a:defRPr sz="2800"/>
            </a:lvl7pPr>
            <a:lvl8pPr marL="4480560" indent="0">
              <a:buNone/>
              <a:defRPr sz="2800"/>
            </a:lvl8pPr>
            <a:lvl9pPr marL="5120640" indent="0">
              <a:buNone/>
              <a:defRPr sz="2800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2334" y="2880360"/>
            <a:ext cx="4129405" cy="5336223"/>
          </a:xfrm>
        </p:spPr>
        <p:txBody>
          <a:bodyPr/>
          <a:lstStyle>
            <a:lvl1pPr marL="0" indent="0">
              <a:buNone/>
              <a:defRPr sz="2200"/>
            </a:lvl1pPr>
            <a:lvl2pPr marL="640080" indent="0">
              <a:buNone/>
              <a:defRPr sz="2000"/>
            </a:lvl2pPr>
            <a:lvl3pPr marL="1280160" indent="0">
              <a:buNone/>
              <a:defRPr sz="1700"/>
            </a:lvl3pPr>
            <a:lvl4pPr marL="1920240" indent="0">
              <a:buNone/>
              <a:defRPr sz="1400"/>
            </a:lvl4pPr>
            <a:lvl5pPr marL="2560320" indent="0">
              <a:buNone/>
              <a:defRPr sz="1400"/>
            </a:lvl5pPr>
            <a:lvl6pPr marL="3200400" indent="0">
              <a:buNone/>
              <a:defRPr sz="1400"/>
            </a:lvl6pPr>
            <a:lvl7pPr marL="3840480" indent="0">
              <a:buNone/>
              <a:defRPr sz="1400"/>
            </a:lvl7pPr>
            <a:lvl8pPr marL="4480560" indent="0">
              <a:buNone/>
              <a:defRPr sz="1400"/>
            </a:lvl8pPr>
            <a:lvl9pPr marL="5120640" indent="0">
              <a:buNone/>
              <a:defRPr sz="1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848907-1966-4A26-AC64-AAACD4B8710E}" type="datetimeFigureOut">
              <a:rPr lang="en-GB" smtClean="0"/>
              <a:t>04/04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F6F-EE41-49A8-9A1A-34C4605C6AA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0888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1156" y="364491"/>
            <a:ext cx="9578975" cy="80676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3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51155" y="1675765"/>
            <a:ext cx="12099290" cy="6349683"/>
          </a:xfrm>
          <a:prstGeom prst="rect">
            <a:avLst/>
          </a:prstGeom>
        </p:spPr>
        <p:txBody>
          <a:bodyPr lIns="128016" tIns="64008" rIns="128016" bIns="64008"/>
          <a:lstStyle>
            <a:lvl1pPr>
              <a:buClr>
                <a:srgbClr val="A4D620"/>
              </a:buClr>
              <a:defRPr sz="2800"/>
            </a:lvl1pPr>
            <a:lvl2pPr marL="1040130" indent="-400050">
              <a:buClr>
                <a:srgbClr val="A4D620"/>
              </a:buClr>
              <a:buSzPct val="90000"/>
              <a:buFont typeface="Courier New" panose="02070309020205020404" pitchFamily="49" charset="0"/>
              <a:buChar char="o"/>
              <a:defRPr sz="2500" baseline="0"/>
            </a:lvl2pPr>
            <a:lvl3pPr>
              <a:buClr>
                <a:srgbClr val="A4D620"/>
              </a:buClr>
              <a:defRPr sz="2200"/>
            </a:lvl3pPr>
            <a:lvl4pPr>
              <a:buClr>
                <a:srgbClr val="A4D620"/>
              </a:buClr>
              <a:defRPr sz="2200"/>
            </a:lvl4pPr>
            <a:lvl5pPr>
              <a:buClr>
                <a:srgbClr val="A4D620"/>
              </a:buClr>
              <a:defRPr sz="2200" baseline="0"/>
            </a:lvl5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</p:spTree>
    <p:extLst>
      <p:ext uri="{BB962C8B-B14F-4D97-AF65-F5344CB8AC3E}">
        <p14:creationId xmlns:p14="http://schemas.microsoft.com/office/powerpoint/2010/main" val="152442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848907-1966-4A26-AC64-AAACD4B8710E}" type="datetimeFigureOut">
              <a:rPr lang="en-GB" smtClean="0"/>
              <a:t>04/04/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F6F-EE41-49A8-9A1A-34C4605C6AA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73512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61146" y="511175"/>
            <a:ext cx="2760345" cy="813657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80111" y="511175"/>
            <a:ext cx="8067675" cy="8136573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848907-1966-4A26-AC64-AAACD4B8710E}" type="datetimeFigureOut">
              <a:rPr lang="en-GB" smtClean="0"/>
              <a:t>04/04/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000F6F-EE41-49A8-9A1A-34C4605C6AA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7112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351053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1156" y="364491"/>
            <a:ext cx="9578975" cy="80676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3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51155" y="1675765"/>
            <a:ext cx="12099290" cy="6349683"/>
          </a:xfrm>
          <a:prstGeom prst="rect">
            <a:avLst/>
          </a:prstGeom>
        </p:spPr>
        <p:txBody>
          <a:bodyPr lIns="128016" tIns="64008" rIns="128016" bIns="64008"/>
          <a:lstStyle>
            <a:lvl1pPr>
              <a:buClr>
                <a:srgbClr val="A4D620"/>
              </a:buClr>
              <a:defRPr sz="2800"/>
            </a:lvl1pPr>
            <a:lvl2pPr marL="1040130" indent="-400050">
              <a:buClr>
                <a:srgbClr val="A4D620"/>
              </a:buClr>
              <a:buSzPct val="90000"/>
              <a:buFont typeface="Courier New" panose="02070309020205020404" pitchFamily="49" charset="0"/>
              <a:buChar char="o"/>
              <a:defRPr sz="2500" baseline="0"/>
            </a:lvl2pPr>
            <a:lvl3pPr>
              <a:buClr>
                <a:srgbClr val="A4D620"/>
              </a:buClr>
              <a:defRPr sz="2200"/>
            </a:lvl3pPr>
            <a:lvl4pPr>
              <a:buClr>
                <a:srgbClr val="A4D620"/>
              </a:buClr>
              <a:defRPr sz="2200"/>
            </a:lvl4pPr>
            <a:lvl5pPr>
              <a:buClr>
                <a:srgbClr val="A4D620"/>
              </a:buClr>
              <a:defRPr sz="2200" baseline="0"/>
            </a:lvl5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</p:spTree>
    <p:extLst>
      <p:ext uri="{BB962C8B-B14F-4D97-AF65-F5344CB8AC3E}">
        <p14:creationId xmlns:p14="http://schemas.microsoft.com/office/powerpoint/2010/main" val="2883634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1156" y="364491"/>
            <a:ext cx="9578975" cy="80676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3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5231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lis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1155" y="1678320"/>
            <a:ext cx="5780723" cy="6274117"/>
          </a:xfrm>
          <a:prstGeom prst="rect">
            <a:avLst/>
          </a:prstGeom>
        </p:spPr>
        <p:txBody>
          <a:bodyPr lIns="128016" tIns="64008" rIns="128016" bIns="64008"/>
          <a:lstStyle>
            <a:lvl1pPr>
              <a:buClr>
                <a:schemeClr val="accent1"/>
              </a:buClr>
              <a:defRPr sz="2500"/>
            </a:lvl1pPr>
            <a:lvl2pPr>
              <a:buClr>
                <a:schemeClr val="accent1"/>
              </a:buClr>
              <a:defRPr sz="2500"/>
            </a:lvl2pPr>
            <a:lvl3pPr>
              <a:buClr>
                <a:schemeClr val="accent1"/>
              </a:buClr>
              <a:defRPr sz="2500"/>
            </a:lvl3pPr>
            <a:lvl4pPr>
              <a:buClr>
                <a:schemeClr val="accent1"/>
              </a:buClr>
              <a:defRPr sz="2500"/>
            </a:lvl4pPr>
            <a:lvl5pPr>
              <a:buClr>
                <a:schemeClr val="accent1"/>
              </a:buCl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501612" y="1678320"/>
            <a:ext cx="5780722" cy="6274117"/>
          </a:xfrm>
          <a:prstGeom prst="rect">
            <a:avLst/>
          </a:prstGeom>
        </p:spPr>
        <p:txBody>
          <a:bodyPr lIns="128016" tIns="64008" rIns="128016" bIns="64008"/>
          <a:lstStyle>
            <a:lvl1pPr>
              <a:buClr>
                <a:schemeClr val="accent1"/>
              </a:buClr>
              <a:defRPr sz="2500"/>
            </a:lvl1pPr>
            <a:lvl2pPr>
              <a:buClr>
                <a:schemeClr val="accent1"/>
              </a:buClr>
              <a:defRPr sz="2500"/>
            </a:lvl2pPr>
            <a:lvl3pPr>
              <a:buClr>
                <a:schemeClr val="accent1"/>
              </a:buClr>
              <a:defRPr sz="2500"/>
            </a:lvl3pPr>
            <a:lvl4pPr>
              <a:buClr>
                <a:schemeClr val="accent1"/>
              </a:buClr>
              <a:defRPr sz="2500"/>
            </a:lvl4pPr>
            <a:lvl5pPr>
              <a:buClr>
                <a:schemeClr val="accent1"/>
              </a:buCl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1156" y="364491"/>
            <a:ext cx="9578975" cy="80676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3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12468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1156" y="364491"/>
            <a:ext cx="9578975" cy="80676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3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51155" y="1675765"/>
            <a:ext cx="12099290" cy="6349683"/>
          </a:xfrm>
          <a:prstGeom prst="rect">
            <a:avLst/>
          </a:prstGeom>
        </p:spPr>
        <p:txBody>
          <a:bodyPr lIns="128016" tIns="64008" rIns="128016" bIns="64008"/>
          <a:lstStyle>
            <a:lvl1pPr>
              <a:buClr>
                <a:srgbClr val="A4D620"/>
              </a:buClr>
              <a:defRPr sz="2800"/>
            </a:lvl1pPr>
            <a:lvl2pPr marL="1040130" indent="-400050">
              <a:buClr>
                <a:srgbClr val="A4D620"/>
              </a:buClr>
              <a:buSzPct val="90000"/>
              <a:buFont typeface="Courier New" panose="02070309020205020404" pitchFamily="49" charset="0"/>
              <a:buChar char="o"/>
              <a:defRPr sz="2500"/>
            </a:lvl2pPr>
            <a:lvl3pPr>
              <a:buClr>
                <a:srgbClr val="A4D620"/>
              </a:buClr>
              <a:defRPr sz="2200"/>
            </a:lvl3pPr>
            <a:lvl4pPr>
              <a:buClr>
                <a:srgbClr val="A4D620"/>
              </a:buClr>
              <a:defRPr sz="2000"/>
            </a:lvl4pPr>
            <a:lvl5pPr>
              <a:buClr>
                <a:srgbClr val="A4D620"/>
              </a:buClr>
              <a:defRPr sz="2000"/>
            </a:lvl5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232278" y="4448793"/>
            <a:ext cx="5236994" cy="3614307"/>
          </a:xfrm>
          <a:custGeom>
            <a:avLst/>
            <a:gdLst>
              <a:gd name="connsiteX0" fmla="*/ 0 w 3673475"/>
              <a:gd name="connsiteY0" fmla="*/ 0 h 2232025"/>
              <a:gd name="connsiteX1" fmla="*/ 3673475 w 3673475"/>
              <a:gd name="connsiteY1" fmla="*/ 0 h 2232025"/>
              <a:gd name="connsiteX2" fmla="*/ 3673475 w 3673475"/>
              <a:gd name="connsiteY2" fmla="*/ 2232025 h 2232025"/>
              <a:gd name="connsiteX3" fmla="*/ 0 w 3673475"/>
              <a:gd name="connsiteY3" fmla="*/ 2232025 h 2232025"/>
              <a:gd name="connsiteX4" fmla="*/ 0 w 3673475"/>
              <a:gd name="connsiteY4" fmla="*/ 0 h 2232025"/>
              <a:gd name="connsiteX0" fmla="*/ 0 w 3686922"/>
              <a:gd name="connsiteY0" fmla="*/ 322729 h 2554754"/>
              <a:gd name="connsiteX1" fmla="*/ 3686922 w 3686922"/>
              <a:gd name="connsiteY1" fmla="*/ 0 h 2554754"/>
              <a:gd name="connsiteX2" fmla="*/ 3673475 w 3686922"/>
              <a:gd name="connsiteY2" fmla="*/ 2554754 h 2554754"/>
              <a:gd name="connsiteX3" fmla="*/ 0 w 3686922"/>
              <a:gd name="connsiteY3" fmla="*/ 2554754 h 2554754"/>
              <a:gd name="connsiteX4" fmla="*/ 0 w 3686922"/>
              <a:gd name="connsiteY4" fmla="*/ 322729 h 2554754"/>
              <a:gd name="connsiteX0" fmla="*/ 0 w 3686922"/>
              <a:gd name="connsiteY0" fmla="*/ 322729 h 2554754"/>
              <a:gd name="connsiteX1" fmla="*/ 3686922 w 3686922"/>
              <a:gd name="connsiteY1" fmla="*/ 0 h 2554754"/>
              <a:gd name="connsiteX2" fmla="*/ 3471769 w 3686922"/>
              <a:gd name="connsiteY2" fmla="*/ 2447177 h 2554754"/>
              <a:gd name="connsiteX3" fmla="*/ 0 w 3686922"/>
              <a:gd name="connsiteY3" fmla="*/ 2554754 h 2554754"/>
              <a:gd name="connsiteX4" fmla="*/ 0 w 3686922"/>
              <a:gd name="connsiteY4" fmla="*/ 322729 h 2554754"/>
              <a:gd name="connsiteX0" fmla="*/ 0 w 3686922"/>
              <a:gd name="connsiteY0" fmla="*/ 322729 h 2581648"/>
              <a:gd name="connsiteX1" fmla="*/ 3686922 w 3686922"/>
              <a:gd name="connsiteY1" fmla="*/ 0 h 2581648"/>
              <a:gd name="connsiteX2" fmla="*/ 3471769 w 3686922"/>
              <a:gd name="connsiteY2" fmla="*/ 2447177 h 2581648"/>
              <a:gd name="connsiteX3" fmla="*/ 363070 w 3686922"/>
              <a:gd name="connsiteY3" fmla="*/ 2581648 h 2581648"/>
              <a:gd name="connsiteX4" fmla="*/ 0 w 3686922"/>
              <a:gd name="connsiteY4" fmla="*/ 322729 h 2581648"/>
              <a:gd name="connsiteX0" fmla="*/ 0 w 3740710"/>
              <a:gd name="connsiteY0" fmla="*/ 551329 h 2581648"/>
              <a:gd name="connsiteX1" fmla="*/ 3740710 w 3740710"/>
              <a:gd name="connsiteY1" fmla="*/ 0 h 2581648"/>
              <a:gd name="connsiteX2" fmla="*/ 3525557 w 3740710"/>
              <a:gd name="connsiteY2" fmla="*/ 2447177 h 2581648"/>
              <a:gd name="connsiteX3" fmla="*/ 416858 w 3740710"/>
              <a:gd name="connsiteY3" fmla="*/ 2581648 h 2581648"/>
              <a:gd name="connsiteX4" fmla="*/ 0 w 3740710"/>
              <a:gd name="connsiteY4" fmla="*/ 551329 h 2581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0710" h="2581648">
                <a:moveTo>
                  <a:pt x="0" y="551329"/>
                </a:moveTo>
                <a:lnTo>
                  <a:pt x="3740710" y="0"/>
                </a:lnTo>
                <a:cubicBezTo>
                  <a:pt x="3736228" y="851585"/>
                  <a:pt x="3530039" y="1595592"/>
                  <a:pt x="3525557" y="2447177"/>
                </a:cubicBezTo>
                <a:lnTo>
                  <a:pt x="416858" y="2581648"/>
                </a:lnTo>
                <a:lnTo>
                  <a:pt x="0" y="551329"/>
                </a:lnTo>
                <a:close/>
              </a:path>
            </a:pathLst>
          </a:custGeom>
          <a:ln w="19050">
            <a:solidFill>
              <a:srgbClr val="781D7D"/>
            </a:solidFill>
          </a:ln>
        </p:spPr>
        <p:txBody>
          <a:bodyPr lIns="128016" tIns="64008" rIns="128016" bIns="64008" anchor="ctr"/>
          <a:lstStyle>
            <a:lvl1pPr marL="0" indent="0">
              <a:buFontTx/>
              <a:buNone/>
              <a:defRPr sz="3900" baseline="0"/>
            </a:lvl1pPr>
          </a:lstStyle>
          <a:p>
            <a:r>
              <a:rPr lang="en-GB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9225662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CLPartners 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1156" y="364491"/>
            <a:ext cx="9578975" cy="80676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3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82937" y="1575753"/>
            <a:ext cx="11967508" cy="6317914"/>
          </a:xfrm>
          <a:custGeom>
            <a:avLst/>
            <a:gdLst>
              <a:gd name="connsiteX0" fmla="*/ 0 w 8642350"/>
              <a:gd name="connsiteY0" fmla="*/ 0 h 4606925"/>
              <a:gd name="connsiteX1" fmla="*/ 8642350 w 8642350"/>
              <a:gd name="connsiteY1" fmla="*/ 0 h 4606925"/>
              <a:gd name="connsiteX2" fmla="*/ 8642350 w 8642350"/>
              <a:gd name="connsiteY2" fmla="*/ 4606925 h 4606925"/>
              <a:gd name="connsiteX3" fmla="*/ 0 w 8642350"/>
              <a:gd name="connsiteY3" fmla="*/ 4606925 h 4606925"/>
              <a:gd name="connsiteX4" fmla="*/ 0 w 8642350"/>
              <a:gd name="connsiteY4" fmla="*/ 0 h 4606925"/>
              <a:gd name="connsiteX0" fmla="*/ 94130 w 8642350"/>
              <a:gd name="connsiteY0" fmla="*/ 295835 h 4606925"/>
              <a:gd name="connsiteX1" fmla="*/ 8642350 w 8642350"/>
              <a:gd name="connsiteY1" fmla="*/ 0 h 4606925"/>
              <a:gd name="connsiteX2" fmla="*/ 8642350 w 8642350"/>
              <a:gd name="connsiteY2" fmla="*/ 4606925 h 4606925"/>
              <a:gd name="connsiteX3" fmla="*/ 0 w 8642350"/>
              <a:gd name="connsiteY3" fmla="*/ 4606925 h 4606925"/>
              <a:gd name="connsiteX4" fmla="*/ 94130 w 8642350"/>
              <a:gd name="connsiteY4" fmla="*/ 295835 h 4606925"/>
              <a:gd name="connsiteX0" fmla="*/ 94130 w 8642350"/>
              <a:gd name="connsiteY0" fmla="*/ 295835 h 4606925"/>
              <a:gd name="connsiteX1" fmla="*/ 8642350 w 8642350"/>
              <a:gd name="connsiteY1" fmla="*/ 0 h 4606925"/>
              <a:gd name="connsiteX2" fmla="*/ 8091020 w 8642350"/>
              <a:gd name="connsiteY2" fmla="*/ 4405219 h 4606925"/>
              <a:gd name="connsiteX3" fmla="*/ 0 w 8642350"/>
              <a:gd name="connsiteY3" fmla="*/ 4606925 h 4606925"/>
              <a:gd name="connsiteX4" fmla="*/ 94130 w 8642350"/>
              <a:gd name="connsiteY4" fmla="*/ 295835 h 4606925"/>
              <a:gd name="connsiteX0" fmla="*/ 0 w 8548220"/>
              <a:gd name="connsiteY0" fmla="*/ 295835 h 4580031"/>
              <a:gd name="connsiteX1" fmla="*/ 8548220 w 8548220"/>
              <a:gd name="connsiteY1" fmla="*/ 0 h 4580031"/>
              <a:gd name="connsiteX2" fmla="*/ 7996890 w 8548220"/>
              <a:gd name="connsiteY2" fmla="*/ 4405219 h 4580031"/>
              <a:gd name="connsiteX3" fmla="*/ 26894 w 8548220"/>
              <a:gd name="connsiteY3" fmla="*/ 4580031 h 4580031"/>
              <a:gd name="connsiteX4" fmla="*/ 0 w 8548220"/>
              <a:gd name="connsiteY4" fmla="*/ 295835 h 4580031"/>
              <a:gd name="connsiteX0" fmla="*/ 0 w 8548220"/>
              <a:gd name="connsiteY0" fmla="*/ 295835 h 4512796"/>
              <a:gd name="connsiteX1" fmla="*/ 8548220 w 8548220"/>
              <a:gd name="connsiteY1" fmla="*/ 0 h 4512796"/>
              <a:gd name="connsiteX2" fmla="*/ 7996890 w 8548220"/>
              <a:gd name="connsiteY2" fmla="*/ 4405219 h 4512796"/>
              <a:gd name="connsiteX3" fmla="*/ 322729 w 8548220"/>
              <a:gd name="connsiteY3" fmla="*/ 4512796 h 4512796"/>
              <a:gd name="connsiteX4" fmla="*/ 0 w 8548220"/>
              <a:gd name="connsiteY4" fmla="*/ 295835 h 4512796"/>
              <a:gd name="connsiteX0" fmla="*/ 0 w 8548220"/>
              <a:gd name="connsiteY0" fmla="*/ 416859 h 4512796"/>
              <a:gd name="connsiteX1" fmla="*/ 8548220 w 8548220"/>
              <a:gd name="connsiteY1" fmla="*/ 0 h 4512796"/>
              <a:gd name="connsiteX2" fmla="*/ 7996890 w 8548220"/>
              <a:gd name="connsiteY2" fmla="*/ 4405219 h 4512796"/>
              <a:gd name="connsiteX3" fmla="*/ 322729 w 8548220"/>
              <a:gd name="connsiteY3" fmla="*/ 4512796 h 4512796"/>
              <a:gd name="connsiteX4" fmla="*/ 0 w 8548220"/>
              <a:gd name="connsiteY4" fmla="*/ 416859 h 4512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48220" h="4512796">
                <a:moveTo>
                  <a:pt x="0" y="416859"/>
                </a:moveTo>
                <a:lnTo>
                  <a:pt x="8548220" y="0"/>
                </a:lnTo>
                <a:lnTo>
                  <a:pt x="7996890" y="4405219"/>
                </a:lnTo>
                <a:lnTo>
                  <a:pt x="322729" y="4512796"/>
                </a:lnTo>
                <a:lnTo>
                  <a:pt x="0" y="416859"/>
                </a:lnTo>
                <a:close/>
              </a:path>
            </a:pathLst>
          </a:custGeom>
          <a:ln w="19050">
            <a:solidFill>
              <a:srgbClr val="781D7D"/>
            </a:solidFill>
          </a:ln>
        </p:spPr>
        <p:txBody>
          <a:bodyPr lIns="128016" tIns="64008" rIns="128016" bIns="64008" anchor="ctr"/>
          <a:lstStyle>
            <a:lvl1pPr marL="0" indent="0">
              <a:buNone/>
              <a:defRPr/>
            </a:lvl1pPr>
          </a:lstStyle>
          <a:p>
            <a:r>
              <a:rPr lang="en-GB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5521849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1154" y="1574642"/>
            <a:ext cx="12098317" cy="6451917"/>
          </a:xfrm>
          <a:prstGeom prst="rect">
            <a:avLst/>
          </a:prstGeom>
        </p:spPr>
        <p:txBody>
          <a:bodyPr lIns="128016" tIns="64008" rIns="128016" bIns="64008"/>
          <a:lstStyle>
            <a:lvl1pPr>
              <a:defRPr sz="4200" baseline="0"/>
            </a:lvl1pPr>
            <a:lvl2pPr>
              <a:defRPr sz="2500"/>
            </a:lvl2pPr>
            <a:lvl3pPr>
              <a:defRPr sz="25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en-US" dirty="0"/>
              <a:t>Click icon to add content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1156" y="364491"/>
            <a:ext cx="9578975" cy="80676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3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6553195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120" y="2982596"/>
            <a:ext cx="10881360" cy="2058035"/>
          </a:xfrm>
          <a:prstGeom prst="rect">
            <a:avLst/>
          </a:prstGeom>
        </p:spPr>
        <p:txBody>
          <a:bodyPr lIns="128016" tIns="64008" rIns="128016" bIns="64008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20240" y="5440680"/>
            <a:ext cx="8961120" cy="2453640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4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8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2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56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84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480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40080" y="8898891"/>
            <a:ext cx="2987040" cy="511175"/>
          </a:xfrm>
          <a:prstGeom prst="rect">
            <a:avLst/>
          </a:prstGeom>
        </p:spPr>
        <p:txBody>
          <a:bodyPr lIns="128016" tIns="64008" rIns="128016" bIns="64008"/>
          <a:lstStyle/>
          <a:p>
            <a:fld id="{EFACA269-9148-405F-86A2-ED7573B9B5C6}" type="datetimeFigureOut">
              <a:rPr lang="en-GB" smtClean="0"/>
              <a:t>04/04/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3880" y="8898891"/>
            <a:ext cx="4053840" cy="511175"/>
          </a:xfrm>
          <a:prstGeom prst="rect">
            <a:avLst/>
          </a:prstGeom>
        </p:spPr>
        <p:txBody>
          <a:bodyPr lIns="128016" tIns="64008" rIns="128016" bIns="64008"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74480" y="8898891"/>
            <a:ext cx="2987040" cy="511175"/>
          </a:xfrm>
          <a:prstGeom prst="rect">
            <a:avLst/>
          </a:prstGeom>
        </p:spPr>
        <p:txBody>
          <a:bodyPr lIns="128016" tIns="64008" rIns="128016" bIns="64008"/>
          <a:lstStyle/>
          <a:p>
            <a:fld id="{DC25EE48-E841-457A-9275-CE7AD3BD4C4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2258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1156" y="364491"/>
            <a:ext cx="9578975" cy="80676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3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98631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0080" y="2240281"/>
            <a:ext cx="11521440" cy="6336348"/>
          </a:xfrm>
          <a:prstGeom prst="rect">
            <a:avLst/>
          </a:prstGeom>
        </p:spPr>
        <p:txBody>
          <a:bodyPr lIns="128016" tIns="64008" rIns="128016" bIns="64008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9174480" y="8898891"/>
            <a:ext cx="2987040" cy="511175"/>
          </a:xfrm>
          <a:prstGeom prst="rect">
            <a:avLst/>
          </a:prstGeom>
          <a:ln/>
        </p:spPr>
        <p:txBody>
          <a:bodyPr lIns="128016" tIns="64008" rIns="128016" bIns="64008"/>
          <a:lstStyle>
            <a:lvl1pPr>
              <a:defRPr/>
            </a:lvl1pPr>
          </a:lstStyle>
          <a:p>
            <a:fld id="{DA5A8D2D-B30F-410E-BF0A-C93262F860C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76"/>
            <a:ext cx="12817834" cy="147325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2438" y="372605"/>
            <a:ext cx="2002746" cy="634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43982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lderly man Whitechapel mar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977" y="0"/>
            <a:ext cx="7331078" cy="9601200"/>
          </a:xfrm>
          <a:prstGeom prst="rect">
            <a:avLst/>
          </a:prstGeom>
        </p:spPr>
      </p:pic>
      <p:sp>
        <p:nvSpPr>
          <p:cNvPr id="6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872417" y="7824936"/>
            <a:ext cx="9376728" cy="70567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2200" b="0">
                <a:solidFill>
                  <a:srgbClr val="006298"/>
                </a:solidFill>
              </a:defRPr>
            </a:lvl1pPr>
          </a:lstStyle>
          <a:p>
            <a:pPr lvl="0"/>
            <a:r>
              <a:rPr lang="en-GB" dirty="0"/>
              <a:t>Presenter name, position, UCLPartners</a:t>
            </a:r>
          </a:p>
          <a:p>
            <a:pPr lvl="0"/>
            <a:endParaRPr lang="en-GB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872408" y="6816842"/>
            <a:ext cx="9375442" cy="1009015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39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Presentation title</a:t>
            </a:r>
          </a:p>
        </p:txBody>
      </p:sp>
      <p:sp>
        <p:nvSpPr>
          <p:cNvPr id="8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2872417" y="8530614"/>
            <a:ext cx="9376728" cy="50311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2200" b="0">
                <a:solidFill>
                  <a:srgbClr val="006298"/>
                </a:solidFill>
              </a:defRPr>
            </a:lvl1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83754275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_own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796011" y="3187621"/>
            <a:ext cx="5242878" cy="2117035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2200">
                <a:solidFill>
                  <a:srgbClr val="006298"/>
                </a:solidFill>
              </a:defRPr>
            </a:lvl1pPr>
            <a:lvl2pPr marL="640080" indent="0">
              <a:buNone/>
              <a:defRPr sz="2200">
                <a:solidFill>
                  <a:srgbClr val="006298"/>
                </a:solidFill>
              </a:defRPr>
            </a:lvl2pPr>
            <a:lvl3pPr marL="1280160" indent="0">
              <a:buNone/>
              <a:defRPr sz="2200">
                <a:solidFill>
                  <a:srgbClr val="006298"/>
                </a:solidFill>
              </a:defRPr>
            </a:lvl3pPr>
            <a:lvl4pPr marL="1920240" indent="0">
              <a:buNone/>
              <a:defRPr sz="2200">
                <a:solidFill>
                  <a:srgbClr val="006298"/>
                </a:solidFill>
              </a:defRPr>
            </a:lvl4pPr>
            <a:lvl5pPr marL="2560320" indent="0">
              <a:buNone/>
              <a:defRPr sz="2200">
                <a:solidFill>
                  <a:srgbClr val="006298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796009" y="2582760"/>
            <a:ext cx="5242182" cy="3576363"/>
          </a:xfrm>
          <a:prstGeom prst="rect">
            <a:avLst/>
          </a:prstGeom>
          <a:noFill/>
        </p:spPr>
        <p:txBody>
          <a:bodyPr wrap="square" lIns="128016" tIns="64008" rIns="128016" bIns="64008" rtlCol="0">
            <a:spAutoFit/>
          </a:bodyPr>
          <a:lstStyle/>
          <a:p>
            <a:r>
              <a:rPr lang="en-GB" sz="2200" dirty="0">
                <a:solidFill>
                  <a:srgbClr val="006298"/>
                </a:solidFill>
              </a:rPr>
              <a:t>For more information please contact:</a:t>
            </a:r>
          </a:p>
          <a:p>
            <a:endParaRPr lang="en-GB" sz="2200" dirty="0">
              <a:solidFill>
                <a:srgbClr val="006298"/>
              </a:solidFill>
            </a:endParaRPr>
          </a:p>
          <a:p>
            <a:endParaRPr lang="en-GB" sz="2200" dirty="0">
              <a:solidFill>
                <a:srgbClr val="006298"/>
              </a:solidFill>
            </a:endParaRPr>
          </a:p>
          <a:p>
            <a:endParaRPr lang="en-GB" sz="2200" dirty="0">
              <a:solidFill>
                <a:srgbClr val="006298"/>
              </a:solidFill>
            </a:endParaRPr>
          </a:p>
          <a:p>
            <a:endParaRPr lang="en-GB" sz="2200" dirty="0">
              <a:solidFill>
                <a:srgbClr val="006298"/>
              </a:solidFill>
            </a:endParaRPr>
          </a:p>
          <a:p>
            <a:endParaRPr lang="en-GB" sz="2200" dirty="0">
              <a:solidFill>
                <a:srgbClr val="006298"/>
              </a:solidFill>
            </a:endParaRPr>
          </a:p>
          <a:p>
            <a:endParaRPr lang="en-GB" sz="2200" dirty="0">
              <a:solidFill>
                <a:srgbClr val="006298"/>
              </a:solidFill>
            </a:endParaRPr>
          </a:p>
          <a:p>
            <a:r>
              <a:rPr lang="en-GB" sz="2200" dirty="0">
                <a:solidFill>
                  <a:srgbClr val="006298"/>
                </a:solidFill>
              </a:rPr>
              <a:t> </a:t>
            </a:r>
          </a:p>
          <a:p>
            <a:r>
              <a:rPr lang="en-GB" sz="2200" dirty="0">
                <a:solidFill>
                  <a:srgbClr val="006298"/>
                </a:solidFill>
              </a:rPr>
              <a:t>www.uclpartners.com </a:t>
            </a:r>
          </a:p>
          <a:p>
            <a:r>
              <a:rPr lang="en-GB" sz="2200" dirty="0">
                <a:solidFill>
                  <a:srgbClr val="006298"/>
                </a:solidFill>
              </a:rPr>
              <a:t>@uclpartners</a:t>
            </a:r>
          </a:p>
        </p:txBody>
      </p:sp>
    </p:spTree>
    <p:extLst>
      <p:ext uri="{BB962C8B-B14F-4D97-AF65-F5344CB8AC3E}">
        <p14:creationId xmlns:p14="http://schemas.microsoft.com/office/powerpoint/2010/main" val="831497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don buses –Whitechap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8761095" cy="960120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872409" y="7824936"/>
            <a:ext cx="9376728" cy="70567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2200" b="1">
                <a:solidFill>
                  <a:srgbClr val="006298"/>
                </a:solidFill>
              </a:defRPr>
            </a:lvl1pPr>
          </a:lstStyle>
          <a:p>
            <a:pPr lvl="0"/>
            <a:r>
              <a:rPr lang="en-GB" dirty="0"/>
              <a:t>Presenter name, position, UCLPartners</a:t>
            </a:r>
          </a:p>
          <a:p>
            <a:pPr lvl="0"/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872408" y="6816825"/>
            <a:ext cx="9375442" cy="1009015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39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Presentation title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2872409" y="8530614"/>
            <a:ext cx="9376728" cy="50311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2200" b="1">
                <a:solidFill>
                  <a:srgbClr val="006298"/>
                </a:solidFill>
              </a:defRPr>
            </a:lvl1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99590571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lderly man Whitechapel mar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8761095" cy="9601200"/>
          </a:xfrm>
          <a:prstGeom prst="rect">
            <a:avLst/>
          </a:prstGeom>
        </p:spPr>
      </p:pic>
      <p:sp>
        <p:nvSpPr>
          <p:cNvPr id="6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872409" y="7824936"/>
            <a:ext cx="9376728" cy="70567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2200" b="1">
                <a:solidFill>
                  <a:srgbClr val="006298"/>
                </a:solidFill>
              </a:defRPr>
            </a:lvl1pPr>
          </a:lstStyle>
          <a:p>
            <a:pPr lvl="0"/>
            <a:r>
              <a:rPr lang="en-GB" dirty="0"/>
              <a:t>Presenter name, position, UCLPartners</a:t>
            </a:r>
          </a:p>
          <a:p>
            <a:pPr lvl="0"/>
            <a:endParaRPr lang="en-GB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872408" y="6816825"/>
            <a:ext cx="9375442" cy="1009015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39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Presentation title</a:t>
            </a:r>
          </a:p>
        </p:txBody>
      </p:sp>
      <p:sp>
        <p:nvSpPr>
          <p:cNvPr id="8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2872409" y="8530614"/>
            <a:ext cx="9376728" cy="50311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2200" b="1">
                <a:solidFill>
                  <a:srgbClr val="006298"/>
                </a:solidFill>
              </a:defRPr>
            </a:lvl1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035464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CLPartners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2796007" y="2582754"/>
            <a:ext cx="5242182" cy="3576363"/>
          </a:xfrm>
          <a:prstGeom prst="rect">
            <a:avLst/>
          </a:prstGeom>
          <a:noFill/>
        </p:spPr>
        <p:txBody>
          <a:bodyPr wrap="square" lIns="128016" tIns="64008" rIns="128016" bIns="64008" rtlCol="0">
            <a:spAutoFit/>
          </a:bodyPr>
          <a:lstStyle/>
          <a:p>
            <a:r>
              <a:rPr lang="en-GB" sz="2200" dirty="0">
                <a:solidFill>
                  <a:srgbClr val="006298"/>
                </a:solidFill>
              </a:rPr>
              <a:t>For more information please contact:</a:t>
            </a:r>
          </a:p>
          <a:p>
            <a:endParaRPr lang="en-GB" sz="2200" dirty="0">
              <a:solidFill>
                <a:srgbClr val="006298"/>
              </a:solidFill>
            </a:endParaRPr>
          </a:p>
          <a:p>
            <a:r>
              <a:rPr lang="en-GB" sz="2200" dirty="0">
                <a:solidFill>
                  <a:srgbClr val="006298"/>
                </a:solidFill>
              </a:rPr>
              <a:t>UCLPartners</a:t>
            </a:r>
            <a:br>
              <a:rPr lang="en-GB" sz="2200" dirty="0">
                <a:solidFill>
                  <a:srgbClr val="006298"/>
                </a:solidFill>
              </a:rPr>
            </a:br>
            <a:r>
              <a:rPr lang="en-GB" sz="2200" dirty="0">
                <a:solidFill>
                  <a:srgbClr val="006298"/>
                </a:solidFill>
              </a:rPr>
              <a:t>3rd Floor</a:t>
            </a:r>
            <a:br>
              <a:rPr lang="en-GB" sz="2200" dirty="0">
                <a:solidFill>
                  <a:srgbClr val="006298"/>
                </a:solidFill>
              </a:rPr>
            </a:br>
            <a:r>
              <a:rPr lang="en-GB" sz="2200" dirty="0">
                <a:solidFill>
                  <a:srgbClr val="006298"/>
                </a:solidFill>
              </a:rPr>
              <a:t>170 Tottenham Court Road</a:t>
            </a:r>
            <a:br>
              <a:rPr lang="en-GB" sz="2200" dirty="0">
                <a:solidFill>
                  <a:srgbClr val="006298"/>
                </a:solidFill>
              </a:rPr>
            </a:br>
            <a:r>
              <a:rPr lang="en-GB" sz="2200" dirty="0">
                <a:solidFill>
                  <a:srgbClr val="006298"/>
                </a:solidFill>
              </a:rPr>
              <a:t>London W1T 7HA</a:t>
            </a:r>
          </a:p>
          <a:p>
            <a:r>
              <a:rPr lang="en-GB" sz="2200" dirty="0">
                <a:solidFill>
                  <a:srgbClr val="006298"/>
                </a:solidFill>
              </a:rPr>
              <a:t/>
            </a:r>
            <a:br>
              <a:rPr lang="en-GB" sz="2200" dirty="0">
                <a:solidFill>
                  <a:srgbClr val="006298"/>
                </a:solidFill>
              </a:rPr>
            </a:br>
            <a:r>
              <a:rPr lang="en-GB" sz="2200" dirty="0">
                <a:solidFill>
                  <a:srgbClr val="006298"/>
                </a:solidFill>
              </a:rPr>
              <a:t>020 7679 6633 </a:t>
            </a:r>
          </a:p>
          <a:p>
            <a:r>
              <a:rPr lang="en-GB" sz="2200" dirty="0">
                <a:solidFill>
                  <a:srgbClr val="006298"/>
                </a:solidFill>
              </a:rPr>
              <a:t>www.uclpartners.com </a:t>
            </a:r>
          </a:p>
          <a:p>
            <a:r>
              <a:rPr lang="en-GB" sz="2200" dirty="0">
                <a:solidFill>
                  <a:srgbClr val="006298"/>
                </a:solidFill>
              </a:rPr>
              <a:t>@uclpartners</a:t>
            </a:r>
          </a:p>
        </p:txBody>
      </p:sp>
    </p:spTree>
    <p:extLst>
      <p:ext uri="{BB962C8B-B14F-4D97-AF65-F5344CB8AC3E}">
        <p14:creationId xmlns:p14="http://schemas.microsoft.com/office/powerpoint/2010/main" val="72272347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own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796008" y="3187621"/>
            <a:ext cx="5242878" cy="2117035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2200">
                <a:solidFill>
                  <a:srgbClr val="006298"/>
                </a:solidFill>
              </a:defRPr>
            </a:lvl1pPr>
            <a:lvl2pPr marL="640080" indent="0">
              <a:buNone/>
              <a:defRPr sz="2200">
                <a:solidFill>
                  <a:srgbClr val="006298"/>
                </a:solidFill>
              </a:defRPr>
            </a:lvl2pPr>
            <a:lvl3pPr marL="1280160" indent="0">
              <a:buNone/>
              <a:defRPr sz="2200">
                <a:solidFill>
                  <a:srgbClr val="006298"/>
                </a:solidFill>
              </a:defRPr>
            </a:lvl3pPr>
            <a:lvl4pPr marL="1920240" indent="0">
              <a:buNone/>
              <a:defRPr sz="2200">
                <a:solidFill>
                  <a:srgbClr val="006298"/>
                </a:solidFill>
              </a:defRPr>
            </a:lvl4pPr>
            <a:lvl5pPr marL="2560320" indent="0">
              <a:buNone/>
              <a:defRPr sz="2200">
                <a:solidFill>
                  <a:srgbClr val="006298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2796007" y="2582754"/>
            <a:ext cx="5242182" cy="3576363"/>
          </a:xfrm>
          <a:prstGeom prst="rect">
            <a:avLst/>
          </a:prstGeom>
          <a:noFill/>
        </p:spPr>
        <p:txBody>
          <a:bodyPr wrap="square" lIns="128016" tIns="64008" rIns="128016" bIns="64008" rtlCol="0">
            <a:spAutoFit/>
          </a:bodyPr>
          <a:lstStyle/>
          <a:p>
            <a:r>
              <a:rPr lang="en-GB" sz="2200" dirty="0">
                <a:solidFill>
                  <a:srgbClr val="006298"/>
                </a:solidFill>
              </a:rPr>
              <a:t>For more information please contact:</a:t>
            </a:r>
          </a:p>
          <a:p>
            <a:endParaRPr lang="en-GB" sz="2200" dirty="0">
              <a:solidFill>
                <a:srgbClr val="006298"/>
              </a:solidFill>
            </a:endParaRPr>
          </a:p>
          <a:p>
            <a:endParaRPr lang="en-GB" sz="2200" dirty="0">
              <a:solidFill>
                <a:srgbClr val="006298"/>
              </a:solidFill>
            </a:endParaRPr>
          </a:p>
          <a:p>
            <a:endParaRPr lang="en-GB" sz="2200" dirty="0">
              <a:solidFill>
                <a:srgbClr val="006298"/>
              </a:solidFill>
            </a:endParaRPr>
          </a:p>
          <a:p>
            <a:endParaRPr lang="en-GB" sz="2200" dirty="0">
              <a:solidFill>
                <a:srgbClr val="006298"/>
              </a:solidFill>
            </a:endParaRPr>
          </a:p>
          <a:p>
            <a:endParaRPr lang="en-GB" sz="2200" dirty="0">
              <a:solidFill>
                <a:srgbClr val="006298"/>
              </a:solidFill>
            </a:endParaRPr>
          </a:p>
          <a:p>
            <a:endParaRPr lang="en-GB" sz="2200" dirty="0">
              <a:solidFill>
                <a:srgbClr val="006298"/>
              </a:solidFill>
            </a:endParaRPr>
          </a:p>
          <a:p>
            <a:r>
              <a:rPr lang="en-GB" sz="2200" dirty="0">
                <a:solidFill>
                  <a:srgbClr val="006298"/>
                </a:solidFill>
              </a:rPr>
              <a:t> </a:t>
            </a:r>
          </a:p>
          <a:p>
            <a:r>
              <a:rPr lang="en-GB" sz="2200" dirty="0">
                <a:solidFill>
                  <a:srgbClr val="006298"/>
                </a:solidFill>
              </a:rPr>
              <a:t>www.uclpartners.com </a:t>
            </a:r>
          </a:p>
          <a:p>
            <a:r>
              <a:rPr lang="en-GB" sz="2200" dirty="0">
                <a:solidFill>
                  <a:srgbClr val="006298"/>
                </a:solidFill>
              </a:rPr>
              <a:t>@uclpartners</a:t>
            </a:r>
          </a:p>
        </p:txBody>
      </p:sp>
    </p:spTree>
    <p:extLst>
      <p:ext uri="{BB962C8B-B14F-4D97-AF65-F5344CB8AC3E}">
        <p14:creationId xmlns:p14="http://schemas.microsoft.com/office/powerpoint/2010/main" val="4171896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5995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1156" y="364491"/>
            <a:ext cx="9578975" cy="80676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3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51155" y="1675765"/>
            <a:ext cx="12099290" cy="6349683"/>
          </a:xfrm>
          <a:prstGeom prst="rect">
            <a:avLst/>
          </a:prstGeom>
        </p:spPr>
        <p:txBody>
          <a:bodyPr lIns="128016" tIns="64008" rIns="128016" bIns="64008"/>
          <a:lstStyle>
            <a:lvl1pPr>
              <a:buClr>
                <a:srgbClr val="A4D620"/>
              </a:buClr>
              <a:defRPr sz="2800"/>
            </a:lvl1pPr>
            <a:lvl2pPr marL="1040130" indent="-400050">
              <a:buClr>
                <a:srgbClr val="A4D620"/>
              </a:buClr>
              <a:buSzPct val="90000"/>
              <a:buFont typeface="Courier New" panose="02070309020205020404" pitchFamily="49" charset="0"/>
              <a:buChar char="o"/>
              <a:defRPr sz="2500" baseline="0"/>
            </a:lvl2pPr>
            <a:lvl3pPr>
              <a:buClr>
                <a:srgbClr val="A4D620"/>
              </a:buClr>
              <a:defRPr sz="2200"/>
            </a:lvl3pPr>
            <a:lvl4pPr>
              <a:buClr>
                <a:srgbClr val="A4D620"/>
              </a:buClr>
              <a:defRPr sz="2200"/>
            </a:lvl4pPr>
            <a:lvl5pPr>
              <a:buClr>
                <a:srgbClr val="A4D620"/>
              </a:buClr>
              <a:defRPr sz="2200" baseline="0"/>
            </a:lvl5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</p:spTree>
    <p:extLst>
      <p:ext uri="{BB962C8B-B14F-4D97-AF65-F5344CB8AC3E}">
        <p14:creationId xmlns:p14="http://schemas.microsoft.com/office/powerpoint/2010/main" val="2594069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1156" y="364491"/>
            <a:ext cx="9578975" cy="80676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3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93700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lis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1155" y="1678320"/>
            <a:ext cx="5780723" cy="6274117"/>
          </a:xfrm>
          <a:prstGeom prst="rect">
            <a:avLst/>
          </a:prstGeom>
        </p:spPr>
        <p:txBody>
          <a:bodyPr lIns="128016" tIns="64008" rIns="128016" bIns="64008"/>
          <a:lstStyle>
            <a:lvl1pPr>
              <a:buClr>
                <a:schemeClr val="accent1"/>
              </a:buClr>
              <a:defRPr sz="2500"/>
            </a:lvl1pPr>
            <a:lvl2pPr>
              <a:buClr>
                <a:schemeClr val="accent1"/>
              </a:buClr>
              <a:defRPr sz="2500"/>
            </a:lvl2pPr>
            <a:lvl3pPr>
              <a:buClr>
                <a:schemeClr val="accent1"/>
              </a:buClr>
              <a:defRPr sz="2500"/>
            </a:lvl3pPr>
            <a:lvl4pPr>
              <a:buClr>
                <a:schemeClr val="accent1"/>
              </a:buClr>
              <a:defRPr sz="2500"/>
            </a:lvl4pPr>
            <a:lvl5pPr>
              <a:buClr>
                <a:schemeClr val="accent1"/>
              </a:buCl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501612" y="1678320"/>
            <a:ext cx="5780722" cy="6274117"/>
          </a:xfrm>
          <a:prstGeom prst="rect">
            <a:avLst/>
          </a:prstGeom>
        </p:spPr>
        <p:txBody>
          <a:bodyPr lIns="128016" tIns="64008" rIns="128016" bIns="64008"/>
          <a:lstStyle>
            <a:lvl1pPr>
              <a:buClr>
                <a:schemeClr val="accent1"/>
              </a:buClr>
              <a:defRPr sz="2500"/>
            </a:lvl1pPr>
            <a:lvl2pPr>
              <a:buClr>
                <a:schemeClr val="accent1"/>
              </a:buClr>
              <a:defRPr sz="2500"/>
            </a:lvl2pPr>
            <a:lvl3pPr>
              <a:buClr>
                <a:schemeClr val="accent1"/>
              </a:buClr>
              <a:defRPr sz="2500"/>
            </a:lvl3pPr>
            <a:lvl4pPr>
              <a:buClr>
                <a:schemeClr val="accent1"/>
              </a:buClr>
              <a:defRPr sz="2500"/>
            </a:lvl4pPr>
            <a:lvl5pPr>
              <a:buClr>
                <a:schemeClr val="accent1"/>
              </a:buCl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1156" y="364491"/>
            <a:ext cx="9578975" cy="80676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3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54013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lis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1155" y="1678320"/>
            <a:ext cx="5780723" cy="6274117"/>
          </a:xfrm>
          <a:prstGeom prst="rect">
            <a:avLst/>
          </a:prstGeom>
        </p:spPr>
        <p:txBody>
          <a:bodyPr lIns="128016" tIns="64008" rIns="128016" bIns="64008"/>
          <a:lstStyle>
            <a:lvl1pPr>
              <a:buClr>
                <a:schemeClr val="accent1"/>
              </a:buClr>
              <a:defRPr sz="2500"/>
            </a:lvl1pPr>
            <a:lvl2pPr>
              <a:buClr>
                <a:schemeClr val="accent1"/>
              </a:buClr>
              <a:defRPr sz="2500"/>
            </a:lvl2pPr>
            <a:lvl3pPr>
              <a:buClr>
                <a:schemeClr val="accent1"/>
              </a:buClr>
              <a:defRPr sz="2500"/>
            </a:lvl3pPr>
            <a:lvl4pPr>
              <a:buClr>
                <a:schemeClr val="accent1"/>
              </a:buClr>
              <a:defRPr sz="2500"/>
            </a:lvl4pPr>
            <a:lvl5pPr>
              <a:buClr>
                <a:schemeClr val="accent1"/>
              </a:buCl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501612" y="1678320"/>
            <a:ext cx="5780722" cy="6274117"/>
          </a:xfrm>
          <a:prstGeom prst="rect">
            <a:avLst/>
          </a:prstGeom>
        </p:spPr>
        <p:txBody>
          <a:bodyPr lIns="128016" tIns="64008" rIns="128016" bIns="64008"/>
          <a:lstStyle>
            <a:lvl1pPr>
              <a:buClr>
                <a:schemeClr val="accent1"/>
              </a:buClr>
              <a:defRPr sz="2500"/>
            </a:lvl1pPr>
            <a:lvl2pPr>
              <a:buClr>
                <a:schemeClr val="accent1"/>
              </a:buClr>
              <a:defRPr sz="2500"/>
            </a:lvl2pPr>
            <a:lvl3pPr>
              <a:buClr>
                <a:schemeClr val="accent1"/>
              </a:buClr>
              <a:defRPr sz="2500"/>
            </a:lvl3pPr>
            <a:lvl4pPr>
              <a:buClr>
                <a:schemeClr val="accent1"/>
              </a:buClr>
              <a:defRPr sz="2500"/>
            </a:lvl4pPr>
            <a:lvl5pPr>
              <a:buClr>
                <a:schemeClr val="accent1"/>
              </a:buCl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1156" y="364491"/>
            <a:ext cx="9578975" cy="80676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3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232753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1156" y="364491"/>
            <a:ext cx="9578975" cy="80676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3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51155" y="1675765"/>
            <a:ext cx="12099290" cy="6349683"/>
          </a:xfrm>
          <a:prstGeom prst="rect">
            <a:avLst/>
          </a:prstGeom>
        </p:spPr>
        <p:txBody>
          <a:bodyPr lIns="128016" tIns="64008" rIns="128016" bIns="64008"/>
          <a:lstStyle>
            <a:lvl1pPr>
              <a:buClr>
                <a:srgbClr val="A4D620"/>
              </a:buClr>
              <a:defRPr sz="2800"/>
            </a:lvl1pPr>
            <a:lvl2pPr marL="1040130" indent="-400050">
              <a:buClr>
                <a:srgbClr val="A4D620"/>
              </a:buClr>
              <a:buSzPct val="90000"/>
              <a:buFont typeface="Courier New" panose="02070309020205020404" pitchFamily="49" charset="0"/>
              <a:buChar char="o"/>
              <a:defRPr sz="2500"/>
            </a:lvl2pPr>
            <a:lvl3pPr>
              <a:buClr>
                <a:srgbClr val="A4D620"/>
              </a:buClr>
              <a:defRPr sz="2200"/>
            </a:lvl3pPr>
            <a:lvl4pPr>
              <a:buClr>
                <a:srgbClr val="A4D620"/>
              </a:buClr>
              <a:defRPr sz="2000"/>
            </a:lvl4pPr>
            <a:lvl5pPr>
              <a:buClr>
                <a:srgbClr val="A4D620"/>
              </a:buClr>
              <a:defRPr sz="2000"/>
            </a:lvl5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232278" y="4448793"/>
            <a:ext cx="5236994" cy="3614307"/>
          </a:xfrm>
          <a:custGeom>
            <a:avLst/>
            <a:gdLst>
              <a:gd name="connsiteX0" fmla="*/ 0 w 3673475"/>
              <a:gd name="connsiteY0" fmla="*/ 0 h 2232025"/>
              <a:gd name="connsiteX1" fmla="*/ 3673475 w 3673475"/>
              <a:gd name="connsiteY1" fmla="*/ 0 h 2232025"/>
              <a:gd name="connsiteX2" fmla="*/ 3673475 w 3673475"/>
              <a:gd name="connsiteY2" fmla="*/ 2232025 h 2232025"/>
              <a:gd name="connsiteX3" fmla="*/ 0 w 3673475"/>
              <a:gd name="connsiteY3" fmla="*/ 2232025 h 2232025"/>
              <a:gd name="connsiteX4" fmla="*/ 0 w 3673475"/>
              <a:gd name="connsiteY4" fmla="*/ 0 h 2232025"/>
              <a:gd name="connsiteX0" fmla="*/ 0 w 3686922"/>
              <a:gd name="connsiteY0" fmla="*/ 322729 h 2554754"/>
              <a:gd name="connsiteX1" fmla="*/ 3686922 w 3686922"/>
              <a:gd name="connsiteY1" fmla="*/ 0 h 2554754"/>
              <a:gd name="connsiteX2" fmla="*/ 3673475 w 3686922"/>
              <a:gd name="connsiteY2" fmla="*/ 2554754 h 2554754"/>
              <a:gd name="connsiteX3" fmla="*/ 0 w 3686922"/>
              <a:gd name="connsiteY3" fmla="*/ 2554754 h 2554754"/>
              <a:gd name="connsiteX4" fmla="*/ 0 w 3686922"/>
              <a:gd name="connsiteY4" fmla="*/ 322729 h 2554754"/>
              <a:gd name="connsiteX0" fmla="*/ 0 w 3686922"/>
              <a:gd name="connsiteY0" fmla="*/ 322729 h 2554754"/>
              <a:gd name="connsiteX1" fmla="*/ 3686922 w 3686922"/>
              <a:gd name="connsiteY1" fmla="*/ 0 h 2554754"/>
              <a:gd name="connsiteX2" fmla="*/ 3471769 w 3686922"/>
              <a:gd name="connsiteY2" fmla="*/ 2447177 h 2554754"/>
              <a:gd name="connsiteX3" fmla="*/ 0 w 3686922"/>
              <a:gd name="connsiteY3" fmla="*/ 2554754 h 2554754"/>
              <a:gd name="connsiteX4" fmla="*/ 0 w 3686922"/>
              <a:gd name="connsiteY4" fmla="*/ 322729 h 2554754"/>
              <a:gd name="connsiteX0" fmla="*/ 0 w 3686922"/>
              <a:gd name="connsiteY0" fmla="*/ 322729 h 2581648"/>
              <a:gd name="connsiteX1" fmla="*/ 3686922 w 3686922"/>
              <a:gd name="connsiteY1" fmla="*/ 0 h 2581648"/>
              <a:gd name="connsiteX2" fmla="*/ 3471769 w 3686922"/>
              <a:gd name="connsiteY2" fmla="*/ 2447177 h 2581648"/>
              <a:gd name="connsiteX3" fmla="*/ 363070 w 3686922"/>
              <a:gd name="connsiteY3" fmla="*/ 2581648 h 2581648"/>
              <a:gd name="connsiteX4" fmla="*/ 0 w 3686922"/>
              <a:gd name="connsiteY4" fmla="*/ 322729 h 2581648"/>
              <a:gd name="connsiteX0" fmla="*/ 0 w 3740710"/>
              <a:gd name="connsiteY0" fmla="*/ 551329 h 2581648"/>
              <a:gd name="connsiteX1" fmla="*/ 3740710 w 3740710"/>
              <a:gd name="connsiteY1" fmla="*/ 0 h 2581648"/>
              <a:gd name="connsiteX2" fmla="*/ 3525557 w 3740710"/>
              <a:gd name="connsiteY2" fmla="*/ 2447177 h 2581648"/>
              <a:gd name="connsiteX3" fmla="*/ 416858 w 3740710"/>
              <a:gd name="connsiteY3" fmla="*/ 2581648 h 2581648"/>
              <a:gd name="connsiteX4" fmla="*/ 0 w 3740710"/>
              <a:gd name="connsiteY4" fmla="*/ 551329 h 2581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0710" h="2581648">
                <a:moveTo>
                  <a:pt x="0" y="551329"/>
                </a:moveTo>
                <a:lnTo>
                  <a:pt x="3740710" y="0"/>
                </a:lnTo>
                <a:cubicBezTo>
                  <a:pt x="3736228" y="851585"/>
                  <a:pt x="3530039" y="1595592"/>
                  <a:pt x="3525557" y="2447177"/>
                </a:cubicBezTo>
                <a:lnTo>
                  <a:pt x="416858" y="2581648"/>
                </a:lnTo>
                <a:lnTo>
                  <a:pt x="0" y="551329"/>
                </a:lnTo>
                <a:close/>
              </a:path>
            </a:pathLst>
          </a:custGeom>
          <a:ln w="19050">
            <a:solidFill>
              <a:srgbClr val="781D7D"/>
            </a:solidFill>
          </a:ln>
        </p:spPr>
        <p:txBody>
          <a:bodyPr lIns="128016" tIns="64008" rIns="128016" bIns="64008" anchor="ctr"/>
          <a:lstStyle>
            <a:lvl1pPr marL="0" indent="0">
              <a:buFontTx/>
              <a:buNone/>
              <a:defRPr sz="3900" baseline="0"/>
            </a:lvl1pPr>
          </a:lstStyle>
          <a:p>
            <a:r>
              <a:rPr lang="en-GB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754263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CLPartners 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1156" y="364491"/>
            <a:ext cx="9578975" cy="80676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3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82937" y="1575753"/>
            <a:ext cx="11967508" cy="6317914"/>
          </a:xfrm>
          <a:custGeom>
            <a:avLst/>
            <a:gdLst>
              <a:gd name="connsiteX0" fmla="*/ 0 w 8642350"/>
              <a:gd name="connsiteY0" fmla="*/ 0 h 4606925"/>
              <a:gd name="connsiteX1" fmla="*/ 8642350 w 8642350"/>
              <a:gd name="connsiteY1" fmla="*/ 0 h 4606925"/>
              <a:gd name="connsiteX2" fmla="*/ 8642350 w 8642350"/>
              <a:gd name="connsiteY2" fmla="*/ 4606925 h 4606925"/>
              <a:gd name="connsiteX3" fmla="*/ 0 w 8642350"/>
              <a:gd name="connsiteY3" fmla="*/ 4606925 h 4606925"/>
              <a:gd name="connsiteX4" fmla="*/ 0 w 8642350"/>
              <a:gd name="connsiteY4" fmla="*/ 0 h 4606925"/>
              <a:gd name="connsiteX0" fmla="*/ 94130 w 8642350"/>
              <a:gd name="connsiteY0" fmla="*/ 295835 h 4606925"/>
              <a:gd name="connsiteX1" fmla="*/ 8642350 w 8642350"/>
              <a:gd name="connsiteY1" fmla="*/ 0 h 4606925"/>
              <a:gd name="connsiteX2" fmla="*/ 8642350 w 8642350"/>
              <a:gd name="connsiteY2" fmla="*/ 4606925 h 4606925"/>
              <a:gd name="connsiteX3" fmla="*/ 0 w 8642350"/>
              <a:gd name="connsiteY3" fmla="*/ 4606925 h 4606925"/>
              <a:gd name="connsiteX4" fmla="*/ 94130 w 8642350"/>
              <a:gd name="connsiteY4" fmla="*/ 295835 h 4606925"/>
              <a:gd name="connsiteX0" fmla="*/ 94130 w 8642350"/>
              <a:gd name="connsiteY0" fmla="*/ 295835 h 4606925"/>
              <a:gd name="connsiteX1" fmla="*/ 8642350 w 8642350"/>
              <a:gd name="connsiteY1" fmla="*/ 0 h 4606925"/>
              <a:gd name="connsiteX2" fmla="*/ 8091020 w 8642350"/>
              <a:gd name="connsiteY2" fmla="*/ 4405219 h 4606925"/>
              <a:gd name="connsiteX3" fmla="*/ 0 w 8642350"/>
              <a:gd name="connsiteY3" fmla="*/ 4606925 h 4606925"/>
              <a:gd name="connsiteX4" fmla="*/ 94130 w 8642350"/>
              <a:gd name="connsiteY4" fmla="*/ 295835 h 4606925"/>
              <a:gd name="connsiteX0" fmla="*/ 0 w 8548220"/>
              <a:gd name="connsiteY0" fmla="*/ 295835 h 4580031"/>
              <a:gd name="connsiteX1" fmla="*/ 8548220 w 8548220"/>
              <a:gd name="connsiteY1" fmla="*/ 0 h 4580031"/>
              <a:gd name="connsiteX2" fmla="*/ 7996890 w 8548220"/>
              <a:gd name="connsiteY2" fmla="*/ 4405219 h 4580031"/>
              <a:gd name="connsiteX3" fmla="*/ 26894 w 8548220"/>
              <a:gd name="connsiteY3" fmla="*/ 4580031 h 4580031"/>
              <a:gd name="connsiteX4" fmla="*/ 0 w 8548220"/>
              <a:gd name="connsiteY4" fmla="*/ 295835 h 4580031"/>
              <a:gd name="connsiteX0" fmla="*/ 0 w 8548220"/>
              <a:gd name="connsiteY0" fmla="*/ 295835 h 4512796"/>
              <a:gd name="connsiteX1" fmla="*/ 8548220 w 8548220"/>
              <a:gd name="connsiteY1" fmla="*/ 0 h 4512796"/>
              <a:gd name="connsiteX2" fmla="*/ 7996890 w 8548220"/>
              <a:gd name="connsiteY2" fmla="*/ 4405219 h 4512796"/>
              <a:gd name="connsiteX3" fmla="*/ 322729 w 8548220"/>
              <a:gd name="connsiteY3" fmla="*/ 4512796 h 4512796"/>
              <a:gd name="connsiteX4" fmla="*/ 0 w 8548220"/>
              <a:gd name="connsiteY4" fmla="*/ 295835 h 4512796"/>
              <a:gd name="connsiteX0" fmla="*/ 0 w 8548220"/>
              <a:gd name="connsiteY0" fmla="*/ 416859 h 4512796"/>
              <a:gd name="connsiteX1" fmla="*/ 8548220 w 8548220"/>
              <a:gd name="connsiteY1" fmla="*/ 0 h 4512796"/>
              <a:gd name="connsiteX2" fmla="*/ 7996890 w 8548220"/>
              <a:gd name="connsiteY2" fmla="*/ 4405219 h 4512796"/>
              <a:gd name="connsiteX3" fmla="*/ 322729 w 8548220"/>
              <a:gd name="connsiteY3" fmla="*/ 4512796 h 4512796"/>
              <a:gd name="connsiteX4" fmla="*/ 0 w 8548220"/>
              <a:gd name="connsiteY4" fmla="*/ 416859 h 4512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48220" h="4512796">
                <a:moveTo>
                  <a:pt x="0" y="416859"/>
                </a:moveTo>
                <a:lnTo>
                  <a:pt x="8548220" y="0"/>
                </a:lnTo>
                <a:lnTo>
                  <a:pt x="7996890" y="4405219"/>
                </a:lnTo>
                <a:lnTo>
                  <a:pt x="322729" y="4512796"/>
                </a:lnTo>
                <a:lnTo>
                  <a:pt x="0" y="416859"/>
                </a:lnTo>
                <a:close/>
              </a:path>
            </a:pathLst>
          </a:custGeom>
          <a:ln w="19050">
            <a:solidFill>
              <a:srgbClr val="781D7D"/>
            </a:solidFill>
          </a:ln>
        </p:spPr>
        <p:txBody>
          <a:bodyPr lIns="128016" tIns="64008" rIns="128016" bIns="64008" anchor="ctr"/>
          <a:lstStyle>
            <a:lvl1pPr marL="0" indent="0">
              <a:buNone/>
              <a:defRPr/>
            </a:lvl1pPr>
          </a:lstStyle>
          <a:p>
            <a:r>
              <a:rPr lang="en-GB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04253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1154" y="1574642"/>
            <a:ext cx="12098317" cy="6451917"/>
          </a:xfrm>
          <a:prstGeom prst="rect">
            <a:avLst/>
          </a:prstGeom>
        </p:spPr>
        <p:txBody>
          <a:bodyPr lIns="128016" tIns="64008" rIns="128016" bIns="64008"/>
          <a:lstStyle>
            <a:lvl1pPr>
              <a:defRPr sz="4200" baseline="0"/>
            </a:lvl1pPr>
            <a:lvl2pPr>
              <a:defRPr sz="2500"/>
            </a:lvl2pPr>
            <a:lvl3pPr>
              <a:defRPr sz="25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en-US" dirty="0"/>
              <a:t>Click icon to add content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1156" y="364491"/>
            <a:ext cx="9578975" cy="80676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3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1806057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20338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0080" y="2240281"/>
            <a:ext cx="11521440" cy="6336348"/>
          </a:xfrm>
          <a:prstGeom prst="rect">
            <a:avLst/>
          </a:prstGeom>
        </p:spPr>
        <p:txBody>
          <a:bodyPr lIns="128016" tIns="64008" rIns="128016" bIns="64008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9174480" y="8898891"/>
            <a:ext cx="2987040" cy="511175"/>
          </a:xfrm>
          <a:prstGeom prst="rect">
            <a:avLst/>
          </a:prstGeom>
          <a:ln/>
        </p:spPr>
        <p:txBody>
          <a:bodyPr lIns="128016" tIns="64008" rIns="128016" bIns="64008"/>
          <a:lstStyle>
            <a:lvl1pPr>
              <a:defRPr/>
            </a:lvl1pPr>
          </a:lstStyle>
          <a:p>
            <a:fld id="{DA5A8D2D-B30F-410E-BF0A-C93262F860C7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76"/>
            <a:ext cx="12817834" cy="147325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2438" y="372605"/>
            <a:ext cx="2002746" cy="634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39738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lderly man Whitechapel mar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977" y="0"/>
            <a:ext cx="7331078" cy="9601200"/>
          </a:xfrm>
          <a:prstGeom prst="rect">
            <a:avLst/>
          </a:prstGeom>
        </p:spPr>
      </p:pic>
      <p:sp>
        <p:nvSpPr>
          <p:cNvPr id="6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872417" y="7824936"/>
            <a:ext cx="9376728" cy="70567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2200" b="0">
                <a:solidFill>
                  <a:srgbClr val="006298"/>
                </a:solidFill>
              </a:defRPr>
            </a:lvl1pPr>
          </a:lstStyle>
          <a:p>
            <a:pPr lvl="0"/>
            <a:r>
              <a:rPr lang="en-GB" dirty="0"/>
              <a:t>Presenter name, position, UCLPartners</a:t>
            </a:r>
          </a:p>
          <a:p>
            <a:pPr lvl="0"/>
            <a:endParaRPr lang="en-GB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872408" y="6816842"/>
            <a:ext cx="9375442" cy="1009015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39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Presentation title</a:t>
            </a:r>
          </a:p>
        </p:txBody>
      </p:sp>
      <p:sp>
        <p:nvSpPr>
          <p:cNvPr id="8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2872417" y="8530614"/>
            <a:ext cx="9376728" cy="50311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2200" b="0">
                <a:solidFill>
                  <a:srgbClr val="006298"/>
                </a:solidFill>
              </a:defRPr>
            </a:lvl1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62995509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_own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796011" y="3187621"/>
            <a:ext cx="5242878" cy="2117035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2200">
                <a:solidFill>
                  <a:srgbClr val="006298"/>
                </a:solidFill>
              </a:defRPr>
            </a:lvl1pPr>
            <a:lvl2pPr marL="640080" indent="0">
              <a:buNone/>
              <a:defRPr sz="2200">
                <a:solidFill>
                  <a:srgbClr val="006298"/>
                </a:solidFill>
              </a:defRPr>
            </a:lvl2pPr>
            <a:lvl3pPr marL="1280160" indent="0">
              <a:buNone/>
              <a:defRPr sz="2200">
                <a:solidFill>
                  <a:srgbClr val="006298"/>
                </a:solidFill>
              </a:defRPr>
            </a:lvl3pPr>
            <a:lvl4pPr marL="1920240" indent="0">
              <a:buNone/>
              <a:defRPr sz="2200">
                <a:solidFill>
                  <a:srgbClr val="006298"/>
                </a:solidFill>
              </a:defRPr>
            </a:lvl4pPr>
            <a:lvl5pPr marL="2560320" indent="0">
              <a:buNone/>
              <a:defRPr sz="2200">
                <a:solidFill>
                  <a:srgbClr val="006298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796009" y="2582760"/>
            <a:ext cx="5242182" cy="3576363"/>
          </a:xfrm>
          <a:prstGeom prst="rect">
            <a:avLst/>
          </a:prstGeom>
          <a:noFill/>
        </p:spPr>
        <p:txBody>
          <a:bodyPr wrap="square" lIns="128016" tIns="64008" rIns="128016" bIns="64008" rtlCol="0">
            <a:spAutoFit/>
          </a:bodyPr>
          <a:lstStyle/>
          <a:p>
            <a:r>
              <a:rPr lang="en-GB" sz="2200" dirty="0">
                <a:solidFill>
                  <a:srgbClr val="006298"/>
                </a:solidFill>
              </a:rPr>
              <a:t>For more information please contact:</a:t>
            </a:r>
          </a:p>
          <a:p>
            <a:endParaRPr lang="en-GB" sz="2200" dirty="0">
              <a:solidFill>
                <a:srgbClr val="006298"/>
              </a:solidFill>
            </a:endParaRPr>
          </a:p>
          <a:p>
            <a:endParaRPr lang="en-GB" sz="2200" dirty="0">
              <a:solidFill>
                <a:srgbClr val="006298"/>
              </a:solidFill>
            </a:endParaRPr>
          </a:p>
          <a:p>
            <a:endParaRPr lang="en-GB" sz="2200" dirty="0">
              <a:solidFill>
                <a:srgbClr val="006298"/>
              </a:solidFill>
            </a:endParaRPr>
          </a:p>
          <a:p>
            <a:endParaRPr lang="en-GB" sz="2200" dirty="0">
              <a:solidFill>
                <a:srgbClr val="006298"/>
              </a:solidFill>
            </a:endParaRPr>
          </a:p>
          <a:p>
            <a:endParaRPr lang="en-GB" sz="2200" dirty="0">
              <a:solidFill>
                <a:srgbClr val="006298"/>
              </a:solidFill>
            </a:endParaRPr>
          </a:p>
          <a:p>
            <a:endParaRPr lang="en-GB" sz="2200" dirty="0">
              <a:solidFill>
                <a:srgbClr val="006298"/>
              </a:solidFill>
            </a:endParaRPr>
          </a:p>
          <a:p>
            <a:r>
              <a:rPr lang="en-GB" sz="2200" dirty="0">
                <a:solidFill>
                  <a:srgbClr val="006298"/>
                </a:solidFill>
              </a:rPr>
              <a:t> </a:t>
            </a:r>
          </a:p>
          <a:p>
            <a:r>
              <a:rPr lang="en-GB" sz="2200" dirty="0">
                <a:solidFill>
                  <a:srgbClr val="006298"/>
                </a:solidFill>
              </a:rPr>
              <a:t>www.uclpartners.com </a:t>
            </a:r>
          </a:p>
          <a:p>
            <a:r>
              <a:rPr lang="en-GB" sz="2200" dirty="0">
                <a:solidFill>
                  <a:srgbClr val="006298"/>
                </a:solidFill>
              </a:rPr>
              <a:t>@uclpartners</a:t>
            </a:r>
          </a:p>
        </p:txBody>
      </p:sp>
    </p:spTree>
    <p:extLst>
      <p:ext uri="{BB962C8B-B14F-4D97-AF65-F5344CB8AC3E}">
        <p14:creationId xmlns:p14="http://schemas.microsoft.com/office/powerpoint/2010/main" val="92821899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168935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1820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1156" y="364491"/>
            <a:ext cx="9578975" cy="80676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3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51155" y="1675765"/>
            <a:ext cx="12099290" cy="6349683"/>
          </a:xfrm>
          <a:prstGeom prst="rect">
            <a:avLst/>
          </a:prstGeom>
        </p:spPr>
        <p:txBody>
          <a:bodyPr lIns="128016" tIns="64008" rIns="128016" bIns="64008"/>
          <a:lstStyle>
            <a:lvl1pPr>
              <a:buClr>
                <a:srgbClr val="A4D620"/>
              </a:buClr>
              <a:defRPr sz="2800"/>
            </a:lvl1pPr>
            <a:lvl2pPr marL="1040130" indent="-400050">
              <a:buClr>
                <a:srgbClr val="A4D620"/>
              </a:buClr>
              <a:buSzPct val="90000"/>
              <a:buFont typeface="Courier New" panose="02070309020205020404" pitchFamily="49" charset="0"/>
              <a:buChar char="o"/>
              <a:defRPr sz="2500"/>
            </a:lvl2pPr>
            <a:lvl3pPr>
              <a:buClr>
                <a:srgbClr val="A4D620"/>
              </a:buClr>
              <a:defRPr sz="2200"/>
            </a:lvl3pPr>
            <a:lvl4pPr>
              <a:buClr>
                <a:srgbClr val="A4D620"/>
              </a:buClr>
              <a:defRPr sz="2000"/>
            </a:lvl4pPr>
            <a:lvl5pPr>
              <a:buClr>
                <a:srgbClr val="A4D620"/>
              </a:buClr>
              <a:defRPr sz="2000"/>
            </a:lvl5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232278" y="4448793"/>
            <a:ext cx="5236994" cy="3614307"/>
          </a:xfrm>
          <a:custGeom>
            <a:avLst/>
            <a:gdLst>
              <a:gd name="connsiteX0" fmla="*/ 0 w 3673475"/>
              <a:gd name="connsiteY0" fmla="*/ 0 h 2232025"/>
              <a:gd name="connsiteX1" fmla="*/ 3673475 w 3673475"/>
              <a:gd name="connsiteY1" fmla="*/ 0 h 2232025"/>
              <a:gd name="connsiteX2" fmla="*/ 3673475 w 3673475"/>
              <a:gd name="connsiteY2" fmla="*/ 2232025 h 2232025"/>
              <a:gd name="connsiteX3" fmla="*/ 0 w 3673475"/>
              <a:gd name="connsiteY3" fmla="*/ 2232025 h 2232025"/>
              <a:gd name="connsiteX4" fmla="*/ 0 w 3673475"/>
              <a:gd name="connsiteY4" fmla="*/ 0 h 2232025"/>
              <a:gd name="connsiteX0" fmla="*/ 0 w 3686922"/>
              <a:gd name="connsiteY0" fmla="*/ 322729 h 2554754"/>
              <a:gd name="connsiteX1" fmla="*/ 3686922 w 3686922"/>
              <a:gd name="connsiteY1" fmla="*/ 0 h 2554754"/>
              <a:gd name="connsiteX2" fmla="*/ 3673475 w 3686922"/>
              <a:gd name="connsiteY2" fmla="*/ 2554754 h 2554754"/>
              <a:gd name="connsiteX3" fmla="*/ 0 w 3686922"/>
              <a:gd name="connsiteY3" fmla="*/ 2554754 h 2554754"/>
              <a:gd name="connsiteX4" fmla="*/ 0 w 3686922"/>
              <a:gd name="connsiteY4" fmla="*/ 322729 h 2554754"/>
              <a:gd name="connsiteX0" fmla="*/ 0 w 3686922"/>
              <a:gd name="connsiteY0" fmla="*/ 322729 h 2554754"/>
              <a:gd name="connsiteX1" fmla="*/ 3686922 w 3686922"/>
              <a:gd name="connsiteY1" fmla="*/ 0 h 2554754"/>
              <a:gd name="connsiteX2" fmla="*/ 3471769 w 3686922"/>
              <a:gd name="connsiteY2" fmla="*/ 2447177 h 2554754"/>
              <a:gd name="connsiteX3" fmla="*/ 0 w 3686922"/>
              <a:gd name="connsiteY3" fmla="*/ 2554754 h 2554754"/>
              <a:gd name="connsiteX4" fmla="*/ 0 w 3686922"/>
              <a:gd name="connsiteY4" fmla="*/ 322729 h 2554754"/>
              <a:gd name="connsiteX0" fmla="*/ 0 w 3686922"/>
              <a:gd name="connsiteY0" fmla="*/ 322729 h 2581648"/>
              <a:gd name="connsiteX1" fmla="*/ 3686922 w 3686922"/>
              <a:gd name="connsiteY1" fmla="*/ 0 h 2581648"/>
              <a:gd name="connsiteX2" fmla="*/ 3471769 w 3686922"/>
              <a:gd name="connsiteY2" fmla="*/ 2447177 h 2581648"/>
              <a:gd name="connsiteX3" fmla="*/ 363070 w 3686922"/>
              <a:gd name="connsiteY3" fmla="*/ 2581648 h 2581648"/>
              <a:gd name="connsiteX4" fmla="*/ 0 w 3686922"/>
              <a:gd name="connsiteY4" fmla="*/ 322729 h 2581648"/>
              <a:gd name="connsiteX0" fmla="*/ 0 w 3740710"/>
              <a:gd name="connsiteY0" fmla="*/ 551329 h 2581648"/>
              <a:gd name="connsiteX1" fmla="*/ 3740710 w 3740710"/>
              <a:gd name="connsiteY1" fmla="*/ 0 h 2581648"/>
              <a:gd name="connsiteX2" fmla="*/ 3525557 w 3740710"/>
              <a:gd name="connsiteY2" fmla="*/ 2447177 h 2581648"/>
              <a:gd name="connsiteX3" fmla="*/ 416858 w 3740710"/>
              <a:gd name="connsiteY3" fmla="*/ 2581648 h 2581648"/>
              <a:gd name="connsiteX4" fmla="*/ 0 w 3740710"/>
              <a:gd name="connsiteY4" fmla="*/ 551329 h 2581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0710" h="2581648">
                <a:moveTo>
                  <a:pt x="0" y="551329"/>
                </a:moveTo>
                <a:lnTo>
                  <a:pt x="3740710" y="0"/>
                </a:lnTo>
                <a:cubicBezTo>
                  <a:pt x="3736228" y="851585"/>
                  <a:pt x="3530039" y="1595592"/>
                  <a:pt x="3525557" y="2447177"/>
                </a:cubicBezTo>
                <a:lnTo>
                  <a:pt x="416858" y="2581648"/>
                </a:lnTo>
                <a:lnTo>
                  <a:pt x="0" y="551329"/>
                </a:lnTo>
                <a:close/>
              </a:path>
            </a:pathLst>
          </a:custGeom>
          <a:ln w="19050">
            <a:solidFill>
              <a:srgbClr val="781D7D"/>
            </a:solidFill>
          </a:ln>
        </p:spPr>
        <p:txBody>
          <a:bodyPr lIns="128016" tIns="64008" rIns="128016" bIns="64008" anchor="ctr"/>
          <a:lstStyle>
            <a:lvl1pPr marL="0" indent="0">
              <a:buFontTx/>
              <a:buNone/>
              <a:defRPr sz="3900" baseline="0"/>
            </a:lvl1pPr>
          </a:lstStyle>
          <a:p>
            <a:r>
              <a:rPr lang="en-GB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6705956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1156" y="364491"/>
            <a:ext cx="9578975" cy="80676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3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51155" y="1675765"/>
            <a:ext cx="12099290" cy="6349683"/>
          </a:xfrm>
          <a:prstGeom prst="rect">
            <a:avLst/>
          </a:prstGeom>
        </p:spPr>
        <p:txBody>
          <a:bodyPr lIns="128016" tIns="64008" rIns="128016" bIns="64008"/>
          <a:lstStyle>
            <a:lvl1pPr>
              <a:buClr>
                <a:srgbClr val="A4D620"/>
              </a:buClr>
              <a:defRPr sz="2800"/>
            </a:lvl1pPr>
            <a:lvl2pPr marL="1040130" indent="-400050">
              <a:buClr>
                <a:srgbClr val="A4D620"/>
              </a:buClr>
              <a:buSzPct val="90000"/>
              <a:buFont typeface="Courier New" panose="02070309020205020404" pitchFamily="49" charset="0"/>
              <a:buChar char="o"/>
              <a:defRPr sz="2500" baseline="0"/>
            </a:lvl2pPr>
            <a:lvl3pPr>
              <a:buClr>
                <a:srgbClr val="A4D620"/>
              </a:buClr>
              <a:defRPr sz="2200"/>
            </a:lvl3pPr>
            <a:lvl4pPr>
              <a:buClr>
                <a:srgbClr val="A4D620"/>
              </a:buClr>
              <a:defRPr sz="2200"/>
            </a:lvl4pPr>
            <a:lvl5pPr>
              <a:buClr>
                <a:srgbClr val="A4D620"/>
              </a:buClr>
              <a:defRPr sz="2200" baseline="0"/>
            </a:lvl5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</p:spTree>
    <p:extLst>
      <p:ext uri="{BB962C8B-B14F-4D97-AF65-F5344CB8AC3E}">
        <p14:creationId xmlns:p14="http://schemas.microsoft.com/office/powerpoint/2010/main" val="427475316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1156" y="364491"/>
            <a:ext cx="9578975" cy="80676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3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0885186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lis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1155" y="1678320"/>
            <a:ext cx="5780723" cy="6274117"/>
          </a:xfrm>
          <a:prstGeom prst="rect">
            <a:avLst/>
          </a:prstGeom>
        </p:spPr>
        <p:txBody>
          <a:bodyPr lIns="128016" tIns="64008" rIns="128016" bIns="64008"/>
          <a:lstStyle>
            <a:lvl1pPr>
              <a:buClr>
                <a:schemeClr val="accent1"/>
              </a:buClr>
              <a:defRPr sz="2500"/>
            </a:lvl1pPr>
            <a:lvl2pPr>
              <a:buClr>
                <a:schemeClr val="accent1"/>
              </a:buClr>
              <a:defRPr sz="2500"/>
            </a:lvl2pPr>
            <a:lvl3pPr>
              <a:buClr>
                <a:schemeClr val="accent1"/>
              </a:buClr>
              <a:defRPr sz="2500"/>
            </a:lvl3pPr>
            <a:lvl4pPr>
              <a:buClr>
                <a:schemeClr val="accent1"/>
              </a:buClr>
              <a:defRPr sz="2500"/>
            </a:lvl4pPr>
            <a:lvl5pPr>
              <a:buClr>
                <a:schemeClr val="accent1"/>
              </a:buCl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501612" y="1678320"/>
            <a:ext cx="5780722" cy="6274117"/>
          </a:xfrm>
          <a:prstGeom prst="rect">
            <a:avLst/>
          </a:prstGeom>
        </p:spPr>
        <p:txBody>
          <a:bodyPr lIns="128016" tIns="64008" rIns="128016" bIns="64008"/>
          <a:lstStyle>
            <a:lvl1pPr>
              <a:buClr>
                <a:schemeClr val="accent1"/>
              </a:buClr>
              <a:defRPr sz="2500"/>
            </a:lvl1pPr>
            <a:lvl2pPr>
              <a:buClr>
                <a:schemeClr val="accent1"/>
              </a:buClr>
              <a:defRPr sz="2500"/>
            </a:lvl2pPr>
            <a:lvl3pPr>
              <a:buClr>
                <a:schemeClr val="accent1"/>
              </a:buClr>
              <a:defRPr sz="2500"/>
            </a:lvl3pPr>
            <a:lvl4pPr>
              <a:buClr>
                <a:schemeClr val="accent1"/>
              </a:buClr>
              <a:defRPr sz="2500"/>
            </a:lvl4pPr>
            <a:lvl5pPr>
              <a:buClr>
                <a:schemeClr val="accent1"/>
              </a:buCl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1156" y="364491"/>
            <a:ext cx="9578975" cy="80676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3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0849066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1156" y="364491"/>
            <a:ext cx="9578975" cy="80676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3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51155" y="1675765"/>
            <a:ext cx="12099290" cy="6349683"/>
          </a:xfrm>
          <a:prstGeom prst="rect">
            <a:avLst/>
          </a:prstGeom>
        </p:spPr>
        <p:txBody>
          <a:bodyPr lIns="128016" tIns="64008" rIns="128016" bIns="64008"/>
          <a:lstStyle>
            <a:lvl1pPr>
              <a:buClr>
                <a:srgbClr val="A4D620"/>
              </a:buClr>
              <a:defRPr sz="2800"/>
            </a:lvl1pPr>
            <a:lvl2pPr marL="1040130" indent="-400050">
              <a:buClr>
                <a:srgbClr val="A4D620"/>
              </a:buClr>
              <a:buSzPct val="90000"/>
              <a:buFont typeface="Courier New" panose="02070309020205020404" pitchFamily="49" charset="0"/>
              <a:buChar char="o"/>
              <a:defRPr sz="2500"/>
            </a:lvl2pPr>
            <a:lvl3pPr>
              <a:buClr>
                <a:srgbClr val="A4D620"/>
              </a:buClr>
              <a:defRPr sz="2200"/>
            </a:lvl3pPr>
            <a:lvl4pPr>
              <a:buClr>
                <a:srgbClr val="A4D620"/>
              </a:buClr>
              <a:defRPr sz="2000"/>
            </a:lvl4pPr>
            <a:lvl5pPr>
              <a:buClr>
                <a:srgbClr val="A4D620"/>
              </a:buClr>
              <a:defRPr sz="2000"/>
            </a:lvl5pPr>
          </a:lstStyle>
          <a:p>
            <a:pPr lvl="0"/>
            <a:r>
              <a:rPr lang="en-US" dirty="0"/>
              <a:t>Click to add text (size 20)</a:t>
            </a:r>
          </a:p>
          <a:p>
            <a:pPr lvl="1"/>
            <a:r>
              <a:rPr lang="en-US" dirty="0"/>
              <a:t>Text (size 18)</a:t>
            </a:r>
          </a:p>
          <a:p>
            <a:pPr lvl="2"/>
            <a:r>
              <a:rPr lang="en-US" dirty="0"/>
              <a:t>Text (size 16)</a:t>
            </a:r>
          </a:p>
          <a:p>
            <a:pPr lvl="3"/>
            <a:r>
              <a:rPr lang="en-US" dirty="0"/>
              <a:t>Text (size 16)</a:t>
            </a:r>
          </a:p>
          <a:p>
            <a:pPr lvl="4"/>
            <a:r>
              <a:rPr lang="en-US" dirty="0"/>
              <a:t>Text, never smaller than 16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232278" y="4448793"/>
            <a:ext cx="5236994" cy="3614307"/>
          </a:xfrm>
          <a:custGeom>
            <a:avLst/>
            <a:gdLst>
              <a:gd name="connsiteX0" fmla="*/ 0 w 3673475"/>
              <a:gd name="connsiteY0" fmla="*/ 0 h 2232025"/>
              <a:gd name="connsiteX1" fmla="*/ 3673475 w 3673475"/>
              <a:gd name="connsiteY1" fmla="*/ 0 h 2232025"/>
              <a:gd name="connsiteX2" fmla="*/ 3673475 w 3673475"/>
              <a:gd name="connsiteY2" fmla="*/ 2232025 h 2232025"/>
              <a:gd name="connsiteX3" fmla="*/ 0 w 3673475"/>
              <a:gd name="connsiteY3" fmla="*/ 2232025 h 2232025"/>
              <a:gd name="connsiteX4" fmla="*/ 0 w 3673475"/>
              <a:gd name="connsiteY4" fmla="*/ 0 h 2232025"/>
              <a:gd name="connsiteX0" fmla="*/ 0 w 3686922"/>
              <a:gd name="connsiteY0" fmla="*/ 322729 h 2554754"/>
              <a:gd name="connsiteX1" fmla="*/ 3686922 w 3686922"/>
              <a:gd name="connsiteY1" fmla="*/ 0 h 2554754"/>
              <a:gd name="connsiteX2" fmla="*/ 3673475 w 3686922"/>
              <a:gd name="connsiteY2" fmla="*/ 2554754 h 2554754"/>
              <a:gd name="connsiteX3" fmla="*/ 0 w 3686922"/>
              <a:gd name="connsiteY3" fmla="*/ 2554754 h 2554754"/>
              <a:gd name="connsiteX4" fmla="*/ 0 w 3686922"/>
              <a:gd name="connsiteY4" fmla="*/ 322729 h 2554754"/>
              <a:gd name="connsiteX0" fmla="*/ 0 w 3686922"/>
              <a:gd name="connsiteY0" fmla="*/ 322729 h 2554754"/>
              <a:gd name="connsiteX1" fmla="*/ 3686922 w 3686922"/>
              <a:gd name="connsiteY1" fmla="*/ 0 h 2554754"/>
              <a:gd name="connsiteX2" fmla="*/ 3471769 w 3686922"/>
              <a:gd name="connsiteY2" fmla="*/ 2447177 h 2554754"/>
              <a:gd name="connsiteX3" fmla="*/ 0 w 3686922"/>
              <a:gd name="connsiteY3" fmla="*/ 2554754 h 2554754"/>
              <a:gd name="connsiteX4" fmla="*/ 0 w 3686922"/>
              <a:gd name="connsiteY4" fmla="*/ 322729 h 2554754"/>
              <a:gd name="connsiteX0" fmla="*/ 0 w 3686922"/>
              <a:gd name="connsiteY0" fmla="*/ 322729 h 2581648"/>
              <a:gd name="connsiteX1" fmla="*/ 3686922 w 3686922"/>
              <a:gd name="connsiteY1" fmla="*/ 0 h 2581648"/>
              <a:gd name="connsiteX2" fmla="*/ 3471769 w 3686922"/>
              <a:gd name="connsiteY2" fmla="*/ 2447177 h 2581648"/>
              <a:gd name="connsiteX3" fmla="*/ 363070 w 3686922"/>
              <a:gd name="connsiteY3" fmla="*/ 2581648 h 2581648"/>
              <a:gd name="connsiteX4" fmla="*/ 0 w 3686922"/>
              <a:gd name="connsiteY4" fmla="*/ 322729 h 2581648"/>
              <a:gd name="connsiteX0" fmla="*/ 0 w 3740710"/>
              <a:gd name="connsiteY0" fmla="*/ 551329 h 2581648"/>
              <a:gd name="connsiteX1" fmla="*/ 3740710 w 3740710"/>
              <a:gd name="connsiteY1" fmla="*/ 0 h 2581648"/>
              <a:gd name="connsiteX2" fmla="*/ 3525557 w 3740710"/>
              <a:gd name="connsiteY2" fmla="*/ 2447177 h 2581648"/>
              <a:gd name="connsiteX3" fmla="*/ 416858 w 3740710"/>
              <a:gd name="connsiteY3" fmla="*/ 2581648 h 2581648"/>
              <a:gd name="connsiteX4" fmla="*/ 0 w 3740710"/>
              <a:gd name="connsiteY4" fmla="*/ 551329 h 2581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40710" h="2581648">
                <a:moveTo>
                  <a:pt x="0" y="551329"/>
                </a:moveTo>
                <a:lnTo>
                  <a:pt x="3740710" y="0"/>
                </a:lnTo>
                <a:cubicBezTo>
                  <a:pt x="3736228" y="851585"/>
                  <a:pt x="3530039" y="1595592"/>
                  <a:pt x="3525557" y="2447177"/>
                </a:cubicBezTo>
                <a:lnTo>
                  <a:pt x="416858" y="2581648"/>
                </a:lnTo>
                <a:lnTo>
                  <a:pt x="0" y="551329"/>
                </a:lnTo>
                <a:close/>
              </a:path>
            </a:pathLst>
          </a:custGeom>
          <a:ln w="19050">
            <a:solidFill>
              <a:srgbClr val="781D7D"/>
            </a:solidFill>
          </a:ln>
        </p:spPr>
        <p:txBody>
          <a:bodyPr lIns="128016" tIns="64008" rIns="128016" bIns="64008" anchor="ctr"/>
          <a:lstStyle>
            <a:lvl1pPr marL="0" indent="0">
              <a:buFontTx/>
              <a:buNone/>
              <a:defRPr sz="3900" baseline="0"/>
            </a:lvl1pPr>
          </a:lstStyle>
          <a:p>
            <a:r>
              <a:rPr lang="en-GB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32093925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CLPartners 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1156" y="364491"/>
            <a:ext cx="9578975" cy="80676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3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82937" y="1575753"/>
            <a:ext cx="11967508" cy="6317914"/>
          </a:xfrm>
          <a:custGeom>
            <a:avLst/>
            <a:gdLst>
              <a:gd name="connsiteX0" fmla="*/ 0 w 8642350"/>
              <a:gd name="connsiteY0" fmla="*/ 0 h 4606925"/>
              <a:gd name="connsiteX1" fmla="*/ 8642350 w 8642350"/>
              <a:gd name="connsiteY1" fmla="*/ 0 h 4606925"/>
              <a:gd name="connsiteX2" fmla="*/ 8642350 w 8642350"/>
              <a:gd name="connsiteY2" fmla="*/ 4606925 h 4606925"/>
              <a:gd name="connsiteX3" fmla="*/ 0 w 8642350"/>
              <a:gd name="connsiteY3" fmla="*/ 4606925 h 4606925"/>
              <a:gd name="connsiteX4" fmla="*/ 0 w 8642350"/>
              <a:gd name="connsiteY4" fmla="*/ 0 h 4606925"/>
              <a:gd name="connsiteX0" fmla="*/ 94130 w 8642350"/>
              <a:gd name="connsiteY0" fmla="*/ 295835 h 4606925"/>
              <a:gd name="connsiteX1" fmla="*/ 8642350 w 8642350"/>
              <a:gd name="connsiteY1" fmla="*/ 0 h 4606925"/>
              <a:gd name="connsiteX2" fmla="*/ 8642350 w 8642350"/>
              <a:gd name="connsiteY2" fmla="*/ 4606925 h 4606925"/>
              <a:gd name="connsiteX3" fmla="*/ 0 w 8642350"/>
              <a:gd name="connsiteY3" fmla="*/ 4606925 h 4606925"/>
              <a:gd name="connsiteX4" fmla="*/ 94130 w 8642350"/>
              <a:gd name="connsiteY4" fmla="*/ 295835 h 4606925"/>
              <a:gd name="connsiteX0" fmla="*/ 94130 w 8642350"/>
              <a:gd name="connsiteY0" fmla="*/ 295835 h 4606925"/>
              <a:gd name="connsiteX1" fmla="*/ 8642350 w 8642350"/>
              <a:gd name="connsiteY1" fmla="*/ 0 h 4606925"/>
              <a:gd name="connsiteX2" fmla="*/ 8091020 w 8642350"/>
              <a:gd name="connsiteY2" fmla="*/ 4405219 h 4606925"/>
              <a:gd name="connsiteX3" fmla="*/ 0 w 8642350"/>
              <a:gd name="connsiteY3" fmla="*/ 4606925 h 4606925"/>
              <a:gd name="connsiteX4" fmla="*/ 94130 w 8642350"/>
              <a:gd name="connsiteY4" fmla="*/ 295835 h 4606925"/>
              <a:gd name="connsiteX0" fmla="*/ 0 w 8548220"/>
              <a:gd name="connsiteY0" fmla="*/ 295835 h 4580031"/>
              <a:gd name="connsiteX1" fmla="*/ 8548220 w 8548220"/>
              <a:gd name="connsiteY1" fmla="*/ 0 h 4580031"/>
              <a:gd name="connsiteX2" fmla="*/ 7996890 w 8548220"/>
              <a:gd name="connsiteY2" fmla="*/ 4405219 h 4580031"/>
              <a:gd name="connsiteX3" fmla="*/ 26894 w 8548220"/>
              <a:gd name="connsiteY3" fmla="*/ 4580031 h 4580031"/>
              <a:gd name="connsiteX4" fmla="*/ 0 w 8548220"/>
              <a:gd name="connsiteY4" fmla="*/ 295835 h 4580031"/>
              <a:gd name="connsiteX0" fmla="*/ 0 w 8548220"/>
              <a:gd name="connsiteY0" fmla="*/ 295835 h 4512796"/>
              <a:gd name="connsiteX1" fmla="*/ 8548220 w 8548220"/>
              <a:gd name="connsiteY1" fmla="*/ 0 h 4512796"/>
              <a:gd name="connsiteX2" fmla="*/ 7996890 w 8548220"/>
              <a:gd name="connsiteY2" fmla="*/ 4405219 h 4512796"/>
              <a:gd name="connsiteX3" fmla="*/ 322729 w 8548220"/>
              <a:gd name="connsiteY3" fmla="*/ 4512796 h 4512796"/>
              <a:gd name="connsiteX4" fmla="*/ 0 w 8548220"/>
              <a:gd name="connsiteY4" fmla="*/ 295835 h 4512796"/>
              <a:gd name="connsiteX0" fmla="*/ 0 w 8548220"/>
              <a:gd name="connsiteY0" fmla="*/ 416859 h 4512796"/>
              <a:gd name="connsiteX1" fmla="*/ 8548220 w 8548220"/>
              <a:gd name="connsiteY1" fmla="*/ 0 h 4512796"/>
              <a:gd name="connsiteX2" fmla="*/ 7996890 w 8548220"/>
              <a:gd name="connsiteY2" fmla="*/ 4405219 h 4512796"/>
              <a:gd name="connsiteX3" fmla="*/ 322729 w 8548220"/>
              <a:gd name="connsiteY3" fmla="*/ 4512796 h 4512796"/>
              <a:gd name="connsiteX4" fmla="*/ 0 w 8548220"/>
              <a:gd name="connsiteY4" fmla="*/ 416859 h 4512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48220" h="4512796">
                <a:moveTo>
                  <a:pt x="0" y="416859"/>
                </a:moveTo>
                <a:lnTo>
                  <a:pt x="8548220" y="0"/>
                </a:lnTo>
                <a:lnTo>
                  <a:pt x="7996890" y="4405219"/>
                </a:lnTo>
                <a:lnTo>
                  <a:pt x="322729" y="4512796"/>
                </a:lnTo>
                <a:lnTo>
                  <a:pt x="0" y="416859"/>
                </a:lnTo>
                <a:close/>
              </a:path>
            </a:pathLst>
          </a:custGeom>
          <a:ln w="19050">
            <a:solidFill>
              <a:srgbClr val="781D7D"/>
            </a:solidFill>
          </a:ln>
        </p:spPr>
        <p:txBody>
          <a:bodyPr lIns="128016" tIns="64008" rIns="128016" bIns="64008" anchor="ctr"/>
          <a:lstStyle>
            <a:lvl1pPr marL="0" indent="0">
              <a:buNone/>
              <a:defRPr/>
            </a:lvl1pPr>
          </a:lstStyle>
          <a:p>
            <a:r>
              <a:rPr lang="en-GB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20303717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1154" y="1574642"/>
            <a:ext cx="12098317" cy="6451917"/>
          </a:xfrm>
          <a:prstGeom prst="rect">
            <a:avLst/>
          </a:prstGeom>
        </p:spPr>
        <p:txBody>
          <a:bodyPr lIns="128016" tIns="64008" rIns="128016" bIns="64008"/>
          <a:lstStyle>
            <a:lvl1pPr>
              <a:defRPr sz="4200" baseline="0"/>
            </a:lvl1pPr>
            <a:lvl2pPr>
              <a:defRPr sz="2500"/>
            </a:lvl2pPr>
            <a:lvl3pPr>
              <a:defRPr sz="25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en-US" dirty="0"/>
              <a:t>Click icon to add content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1156" y="364491"/>
            <a:ext cx="9578975" cy="80676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3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0748234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120" y="2982596"/>
            <a:ext cx="10881360" cy="2058035"/>
          </a:xfrm>
          <a:prstGeom prst="rect">
            <a:avLst/>
          </a:prstGeom>
        </p:spPr>
        <p:txBody>
          <a:bodyPr lIns="128016" tIns="64008" rIns="128016" bIns="64008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20240" y="5440680"/>
            <a:ext cx="8961120" cy="2453640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4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8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2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56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84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480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40080" y="8898891"/>
            <a:ext cx="2987040" cy="511175"/>
          </a:xfrm>
          <a:prstGeom prst="rect">
            <a:avLst/>
          </a:prstGeom>
        </p:spPr>
        <p:txBody>
          <a:bodyPr lIns="128016" tIns="64008" rIns="128016" bIns="64008"/>
          <a:lstStyle/>
          <a:p>
            <a:fld id="{EFACA269-9148-405F-86A2-ED7573B9B5C6}" type="datetimeFigureOut">
              <a:rPr lang="en-GB" smtClean="0">
                <a:solidFill>
                  <a:prstClr val="black"/>
                </a:solidFill>
              </a:rPr>
              <a:pPr/>
              <a:t>04/04/2018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73880" y="8898891"/>
            <a:ext cx="4053840" cy="511175"/>
          </a:xfrm>
          <a:prstGeom prst="rect">
            <a:avLst/>
          </a:prstGeom>
        </p:spPr>
        <p:txBody>
          <a:bodyPr lIns="128016" tIns="64008" rIns="128016" bIns="64008"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74480" y="8898891"/>
            <a:ext cx="2987040" cy="511175"/>
          </a:xfrm>
          <a:prstGeom prst="rect">
            <a:avLst/>
          </a:prstGeom>
        </p:spPr>
        <p:txBody>
          <a:bodyPr lIns="128016" tIns="64008" rIns="128016" bIns="64008"/>
          <a:lstStyle/>
          <a:p>
            <a:fld id="{DC25EE48-E841-457A-9275-CE7AD3BD4C46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996822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0080" y="2240281"/>
            <a:ext cx="11521440" cy="6336348"/>
          </a:xfrm>
          <a:prstGeom prst="rect">
            <a:avLst/>
          </a:prstGeom>
        </p:spPr>
        <p:txBody>
          <a:bodyPr lIns="128016" tIns="64008" rIns="128016" bIns="64008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9174480" y="8898891"/>
            <a:ext cx="2987040" cy="511175"/>
          </a:xfrm>
          <a:prstGeom prst="rect">
            <a:avLst/>
          </a:prstGeom>
          <a:ln/>
        </p:spPr>
        <p:txBody>
          <a:bodyPr lIns="128016" tIns="64008" rIns="128016" bIns="64008"/>
          <a:lstStyle>
            <a:lvl1pPr>
              <a:defRPr/>
            </a:lvl1pPr>
          </a:lstStyle>
          <a:p>
            <a:fld id="{DA5A8D2D-B30F-410E-BF0A-C93262F860C7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76"/>
            <a:ext cx="12817834" cy="147325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2438" y="372605"/>
            <a:ext cx="2002746" cy="634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60503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lderly man Whitechapel mar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977" y="0"/>
            <a:ext cx="7331078" cy="9601200"/>
          </a:xfrm>
          <a:prstGeom prst="rect">
            <a:avLst/>
          </a:prstGeom>
        </p:spPr>
      </p:pic>
      <p:sp>
        <p:nvSpPr>
          <p:cNvPr id="6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872417" y="7824936"/>
            <a:ext cx="9376728" cy="70567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2200" b="0">
                <a:solidFill>
                  <a:srgbClr val="006298"/>
                </a:solidFill>
              </a:defRPr>
            </a:lvl1pPr>
          </a:lstStyle>
          <a:p>
            <a:pPr lvl="0"/>
            <a:r>
              <a:rPr lang="en-GB" dirty="0"/>
              <a:t>Presenter name, position, UCLPartners</a:t>
            </a:r>
          </a:p>
          <a:p>
            <a:pPr lvl="0"/>
            <a:endParaRPr lang="en-GB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872408" y="6816842"/>
            <a:ext cx="9375442" cy="1009015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39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Presentation title</a:t>
            </a:r>
          </a:p>
        </p:txBody>
      </p:sp>
      <p:sp>
        <p:nvSpPr>
          <p:cNvPr id="8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2872417" y="8530614"/>
            <a:ext cx="9376728" cy="50311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2200" b="0">
                <a:solidFill>
                  <a:srgbClr val="006298"/>
                </a:solidFill>
              </a:defRPr>
            </a:lvl1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91526738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_own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796011" y="3187621"/>
            <a:ext cx="5242878" cy="2117035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2200">
                <a:solidFill>
                  <a:srgbClr val="006298"/>
                </a:solidFill>
              </a:defRPr>
            </a:lvl1pPr>
            <a:lvl2pPr marL="640080" indent="0">
              <a:buNone/>
              <a:defRPr sz="2200">
                <a:solidFill>
                  <a:srgbClr val="006298"/>
                </a:solidFill>
              </a:defRPr>
            </a:lvl2pPr>
            <a:lvl3pPr marL="1280160" indent="0">
              <a:buNone/>
              <a:defRPr sz="2200">
                <a:solidFill>
                  <a:srgbClr val="006298"/>
                </a:solidFill>
              </a:defRPr>
            </a:lvl3pPr>
            <a:lvl4pPr marL="1920240" indent="0">
              <a:buNone/>
              <a:defRPr sz="2200">
                <a:solidFill>
                  <a:srgbClr val="006298"/>
                </a:solidFill>
              </a:defRPr>
            </a:lvl4pPr>
            <a:lvl5pPr marL="2560320" indent="0">
              <a:buNone/>
              <a:defRPr sz="2200">
                <a:solidFill>
                  <a:srgbClr val="006298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796009" y="2582760"/>
            <a:ext cx="5242182" cy="3576363"/>
          </a:xfrm>
          <a:prstGeom prst="rect">
            <a:avLst/>
          </a:prstGeom>
          <a:noFill/>
        </p:spPr>
        <p:txBody>
          <a:bodyPr wrap="square" lIns="128016" tIns="64008" rIns="128016" bIns="64008" rtlCol="0">
            <a:spAutoFit/>
          </a:bodyPr>
          <a:lstStyle/>
          <a:p>
            <a:r>
              <a:rPr lang="en-GB" sz="2200" dirty="0">
                <a:solidFill>
                  <a:srgbClr val="006298"/>
                </a:solidFill>
              </a:rPr>
              <a:t>For more information please contact:</a:t>
            </a:r>
          </a:p>
          <a:p>
            <a:endParaRPr lang="en-GB" sz="2200" dirty="0">
              <a:solidFill>
                <a:srgbClr val="006298"/>
              </a:solidFill>
            </a:endParaRPr>
          </a:p>
          <a:p>
            <a:endParaRPr lang="en-GB" sz="2200" dirty="0">
              <a:solidFill>
                <a:srgbClr val="006298"/>
              </a:solidFill>
            </a:endParaRPr>
          </a:p>
          <a:p>
            <a:endParaRPr lang="en-GB" sz="2200" dirty="0">
              <a:solidFill>
                <a:srgbClr val="006298"/>
              </a:solidFill>
            </a:endParaRPr>
          </a:p>
          <a:p>
            <a:endParaRPr lang="en-GB" sz="2200" dirty="0">
              <a:solidFill>
                <a:srgbClr val="006298"/>
              </a:solidFill>
            </a:endParaRPr>
          </a:p>
          <a:p>
            <a:endParaRPr lang="en-GB" sz="2200" dirty="0">
              <a:solidFill>
                <a:srgbClr val="006298"/>
              </a:solidFill>
            </a:endParaRPr>
          </a:p>
          <a:p>
            <a:endParaRPr lang="en-GB" sz="2200" dirty="0">
              <a:solidFill>
                <a:srgbClr val="006298"/>
              </a:solidFill>
            </a:endParaRPr>
          </a:p>
          <a:p>
            <a:r>
              <a:rPr lang="en-GB" sz="2200" dirty="0">
                <a:solidFill>
                  <a:srgbClr val="006298"/>
                </a:solidFill>
              </a:rPr>
              <a:t> </a:t>
            </a:r>
          </a:p>
          <a:p>
            <a:r>
              <a:rPr lang="en-GB" sz="2200" dirty="0">
                <a:solidFill>
                  <a:srgbClr val="006298"/>
                </a:solidFill>
              </a:rPr>
              <a:t>www.uclpartners.com </a:t>
            </a:r>
          </a:p>
          <a:p>
            <a:r>
              <a:rPr lang="en-GB" sz="2200" dirty="0">
                <a:solidFill>
                  <a:srgbClr val="006298"/>
                </a:solidFill>
              </a:rPr>
              <a:t>@uclpartners</a:t>
            </a:r>
          </a:p>
        </p:txBody>
      </p:sp>
    </p:spTree>
    <p:extLst>
      <p:ext uri="{BB962C8B-B14F-4D97-AF65-F5344CB8AC3E}">
        <p14:creationId xmlns:p14="http://schemas.microsoft.com/office/powerpoint/2010/main" val="21820649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CLPartners 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1156" y="364491"/>
            <a:ext cx="9578975" cy="80676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3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82937" y="1575753"/>
            <a:ext cx="11967508" cy="6317914"/>
          </a:xfrm>
          <a:custGeom>
            <a:avLst/>
            <a:gdLst>
              <a:gd name="connsiteX0" fmla="*/ 0 w 8642350"/>
              <a:gd name="connsiteY0" fmla="*/ 0 h 4606925"/>
              <a:gd name="connsiteX1" fmla="*/ 8642350 w 8642350"/>
              <a:gd name="connsiteY1" fmla="*/ 0 h 4606925"/>
              <a:gd name="connsiteX2" fmla="*/ 8642350 w 8642350"/>
              <a:gd name="connsiteY2" fmla="*/ 4606925 h 4606925"/>
              <a:gd name="connsiteX3" fmla="*/ 0 w 8642350"/>
              <a:gd name="connsiteY3" fmla="*/ 4606925 h 4606925"/>
              <a:gd name="connsiteX4" fmla="*/ 0 w 8642350"/>
              <a:gd name="connsiteY4" fmla="*/ 0 h 4606925"/>
              <a:gd name="connsiteX0" fmla="*/ 94130 w 8642350"/>
              <a:gd name="connsiteY0" fmla="*/ 295835 h 4606925"/>
              <a:gd name="connsiteX1" fmla="*/ 8642350 w 8642350"/>
              <a:gd name="connsiteY1" fmla="*/ 0 h 4606925"/>
              <a:gd name="connsiteX2" fmla="*/ 8642350 w 8642350"/>
              <a:gd name="connsiteY2" fmla="*/ 4606925 h 4606925"/>
              <a:gd name="connsiteX3" fmla="*/ 0 w 8642350"/>
              <a:gd name="connsiteY3" fmla="*/ 4606925 h 4606925"/>
              <a:gd name="connsiteX4" fmla="*/ 94130 w 8642350"/>
              <a:gd name="connsiteY4" fmla="*/ 295835 h 4606925"/>
              <a:gd name="connsiteX0" fmla="*/ 94130 w 8642350"/>
              <a:gd name="connsiteY0" fmla="*/ 295835 h 4606925"/>
              <a:gd name="connsiteX1" fmla="*/ 8642350 w 8642350"/>
              <a:gd name="connsiteY1" fmla="*/ 0 h 4606925"/>
              <a:gd name="connsiteX2" fmla="*/ 8091020 w 8642350"/>
              <a:gd name="connsiteY2" fmla="*/ 4405219 h 4606925"/>
              <a:gd name="connsiteX3" fmla="*/ 0 w 8642350"/>
              <a:gd name="connsiteY3" fmla="*/ 4606925 h 4606925"/>
              <a:gd name="connsiteX4" fmla="*/ 94130 w 8642350"/>
              <a:gd name="connsiteY4" fmla="*/ 295835 h 4606925"/>
              <a:gd name="connsiteX0" fmla="*/ 0 w 8548220"/>
              <a:gd name="connsiteY0" fmla="*/ 295835 h 4580031"/>
              <a:gd name="connsiteX1" fmla="*/ 8548220 w 8548220"/>
              <a:gd name="connsiteY1" fmla="*/ 0 h 4580031"/>
              <a:gd name="connsiteX2" fmla="*/ 7996890 w 8548220"/>
              <a:gd name="connsiteY2" fmla="*/ 4405219 h 4580031"/>
              <a:gd name="connsiteX3" fmla="*/ 26894 w 8548220"/>
              <a:gd name="connsiteY3" fmla="*/ 4580031 h 4580031"/>
              <a:gd name="connsiteX4" fmla="*/ 0 w 8548220"/>
              <a:gd name="connsiteY4" fmla="*/ 295835 h 4580031"/>
              <a:gd name="connsiteX0" fmla="*/ 0 w 8548220"/>
              <a:gd name="connsiteY0" fmla="*/ 295835 h 4512796"/>
              <a:gd name="connsiteX1" fmla="*/ 8548220 w 8548220"/>
              <a:gd name="connsiteY1" fmla="*/ 0 h 4512796"/>
              <a:gd name="connsiteX2" fmla="*/ 7996890 w 8548220"/>
              <a:gd name="connsiteY2" fmla="*/ 4405219 h 4512796"/>
              <a:gd name="connsiteX3" fmla="*/ 322729 w 8548220"/>
              <a:gd name="connsiteY3" fmla="*/ 4512796 h 4512796"/>
              <a:gd name="connsiteX4" fmla="*/ 0 w 8548220"/>
              <a:gd name="connsiteY4" fmla="*/ 295835 h 4512796"/>
              <a:gd name="connsiteX0" fmla="*/ 0 w 8548220"/>
              <a:gd name="connsiteY0" fmla="*/ 416859 h 4512796"/>
              <a:gd name="connsiteX1" fmla="*/ 8548220 w 8548220"/>
              <a:gd name="connsiteY1" fmla="*/ 0 h 4512796"/>
              <a:gd name="connsiteX2" fmla="*/ 7996890 w 8548220"/>
              <a:gd name="connsiteY2" fmla="*/ 4405219 h 4512796"/>
              <a:gd name="connsiteX3" fmla="*/ 322729 w 8548220"/>
              <a:gd name="connsiteY3" fmla="*/ 4512796 h 4512796"/>
              <a:gd name="connsiteX4" fmla="*/ 0 w 8548220"/>
              <a:gd name="connsiteY4" fmla="*/ 416859 h 4512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48220" h="4512796">
                <a:moveTo>
                  <a:pt x="0" y="416859"/>
                </a:moveTo>
                <a:lnTo>
                  <a:pt x="8548220" y="0"/>
                </a:lnTo>
                <a:lnTo>
                  <a:pt x="7996890" y="4405219"/>
                </a:lnTo>
                <a:lnTo>
                  <a:pt x="322729" y="4512796"/>
                </a:lnTo>
                <a:lnTo>
                  <a:pt x="0" y="416859"/>
                </a:lnTo>
                <a:close/>
              </a:path>
            </a:pathLst>
          </a:custGeom>
          <a:ln w="19050">
            <a:solidFill>
              <a:srgbClr val="781D7D"/>
            </a:solidFill>
          </a:ln>
        </p:spPr>
        <p:txBody>
          <a:bodyPr lIns="128016" tIns="64008" rIns="128016" bIns="64008" anchor="ctr"/>
          <a:lstStyle>
            <a:lvl1pPr marL="0" indent="0">
              <a:buNone/>
              <a:defRPr/>
            </a:lvl1pPr>
          </a:lstStyle>
          <a:p>
            <a:r>
              <a:rPr lang="en-GB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4033017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30992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51154" y="1574642"/>
            <a:ext cx="12098317" cy="6451917"/>
          </a:xfrm>
          <a:prstGeom prst="rect">
            <a:avLst/>
          </a:prstGeom>
        </p:spPr>
        <p:txBody>
          <a:bodyPr lIns="128016" tIns="64008" rIns="128016" bIns="64008"/>
          <a:lstStyle>
            <a:lvl1pPr>
              <a:defRPr sz="4200" baseline="0"/>
            </a:lvl1pPr>
            <a:lvl2pPr>
              <a:defRPr sz="2500"/>
            </a:lvl2pPr>
            <a:lvl3pPr>
              <a:defRPr sz="25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en-US" dirty="0"/>
              <a:t>Click icon to add content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1156" y="364491"/>
            <a:ext cx="9578975" cy="80676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36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30833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0080" y="2240281"/>
            <a:ext cx="11521440" cy="6336348"/>
          </a:xfrm>
          <a:prstGeom prst="rect">
            <a:avLst/>
          </a:prstGeom>
        </p:spPr>
        <p:txBody>
          <a:bodyPr lIns="128016" tIns="64008" rIns="128016" bIns="64008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9174480" y="8898891"/>
            <a:ext cx="2987040" cy="511175"/>
          </a:xfrm>
          <a:prstGeom prst="rect">
            <a:avLst/>
          </a:prstGeom>
          <a:ln/>
        </p:spPr>
        <p:txBody>
          <a:bodyPr lIns="128016" tIns="64008" rIns="128016" bIns="64008"/>
          <a:lstStyle>
            <a:lvl1pPr>
              <a:defRPr/>
            </a:lvl1pPr>
          </a:lstStyle>
          <a:p>
            <a:fld id="{DA5A8D2D-B30F-410E-BF0A-C93262F860C7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76"/>
            <a:ext cx="12817834" cy="147325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2438" y="372605"/>
            <a:ext cx="2002746" cy="63496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lderly man Whitechapel mar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2977" y="0"/>
            <a:ext cx="7331078" cy="9601200"/>
          </a:xfrm>
          <a:prstGeom prst="rect">
            <a:avLst/>
          </a:prstGeom>
        </p:spPr>
      </p:pic>
      <p:sp>
        <p:nvSpPr>
          <p:cNvPr id="6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872417" y="7824936"/>
            <a:ext cx="9376728" cy="70567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2200" b="0">
                <a:solidFill>
                  <a:srgbClr val="006298"/>
                </a:solidFill>
              </a:defRPr>
            </a:lvl1pPr>
          </a:lstStyle>
          <a:p>
            <a:pPr lvl="0"/>
            <a:r>
              <a:rPr lang="en-GB" dirty="0"/>
              <a:t>Presenter name, position, UCLPartners</a:t>
            </a:r>
          </a:p>
          <a:p>
            <a:pPr lvl="0"/>
            <a:endParaRPr lang="en-GB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872408" y="6816842"/>
            <a:ext cx="9375442" cy="1009015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3900" b="1">
                <a:solidFill>
                  <a:srgbClr val="781D7D"/>
                </a:solidFill>
              </a:defRPr>
            </a:lvl1pPr>
          </a:lstStyle>
          <a:p>
            <a:pPr lvl="0"/>
            <a:r>
              <a:rPr lang="en-GB" dirty="0"/>
              <a:t>Presentation title</a:t>
            </a:r>
          </a:p>
        </p:txBody>
      </p:sp>
      <p:sp>
        <p:nvSpPr>
          <p:cNvPr id="8" name="Text Placeholder 20"/>
          <p:cNvSpPr>
            <a:spLocks noGrp="1"/>
          </p:cNvSpPr>
          <p:nvPr>
            <p:ph type="body" sz="quarter" idx="12" hasCustomPrompt="1"/>
          </p:nvPr>
        </p:nvSpPr>
        <p:spPr>
          <a:xfrm>
            <a:off x="2872417" y="8530614"/>
            <a:ext cx="9376728" cy="503118"/>
          </a:xfrm>
          <a:prstGeom prst="rect">
            <a:avLst/>
          </a:prstGeom>
        </p:spPr>
        <p:txBody>
          <a:bodyPr lIns="128016" tIns="64008" rIns="128016" bIns="64008"/>
          <a:lstStyle>
            <a:lvl1pPr marL="0" indent="0">
              <a:buNone/>
              <a:defRPr sz="2200" b="0">
                <a:solidFill>
                  <a:srgbClr val="006298"/>
                </a:solidFill>
              </a:defRPr>
            </a:lvl1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9984091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image" Target="../media/image4.png"/><Relationship Id="rId18" Type="http://schemas.openxmlformats.org/officeDocument/2006/relationships/image" Target="../media/image9.png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3.xml"/><Relationship Id="rId17" Type="http://schemas.openxmlformats.org/officeDocument/2006/relationships/image" Target="../media/image8.pn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31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image" Target="../media/image5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11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11.png"/><Relationship Id="rId4" Type="http://schemas.openxmlformats.org/officeDocument/2006/relationships/image" Target="../media/image13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6.xml"/><Relationship Id="rId18" Type="http://schemas.openxmlformats.org/officeDocument/2006/relationships/image" Target="../media/image16.pn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38.xml"/><Relationship Id="rId16" Type="http://schemas.openxmlformats.org/officeDocument/2006/relationships/image" Target="../media/image14.jpe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9.png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image" Target="../media/image8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heme" Target="../theme/theme7.xml"/><Relationship Id="rId18" Type="http://schemas.openxmlformats.org/officeDocument/2006/relationships/image" Target="../media/image16.png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50.xml"/><Relationship Id="rId16" Type="http://schemas.openxmlformats.org/officeDocument/2006/relationships/image" Target="../media/image14.jpeg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9.png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image" Target="../media/image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7456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660" r:id="rId8"/>
    <p:sldLayoutId id="2147483714" r:id="rId9"/>
    <p:sldLayoutId id="2147483715" r:id="rId10"/>
  </p:sldLayoutIdLst>
  <p:timing>
    <p:tnLst>
      <p:par>
        <p:cTn id="1" dur="indefinite" restart="never" nodeType="tmRoot"/>
      </p:par>
    </p:tnLst>
  </p:timing>
  <p:txStyles>
    <p:titleStyle>
      <a:lvl1pPr algn="ctr" defTabSz="1280160" rtl="0" eaLnBrk="1" latinLnBrk="0" hangingPunct="1">
        <a:spcBef>
          <a:spcPct val="0"/>
        </a:spcBef>
        <a:buNone/>
        <a:defRPr sz="6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0060" indent="-48006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1pPr>
      <a:lvl2pPr marL="1040130" indent="-400050" algn="l" defTabSz="1280160" rtl="0" eaLnBrk="1" latinLnBrk="0" hangingPunct="1">
        <a:spcBef>
          <a:spcPct val="20000"/>
        </a:spcBef>
        <a:buFont typeface="Arial" panose="020B0604020202020204" pitchFamily="34" charset="0"/>
        <a:buChar char="–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0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3pPr>
      <a:lvl4pPr marL="224028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36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2044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2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68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80110" y="511176"/>
            <a:ext cx="11041380" cy="1855788"/>
          </a:xfrm>
          <a:prstGeom prst="rect">
            <a:avLst/>
          </a:prstGeom>
        </p:spPr>
        <p:txBody>
          <a:bodyPr vert="horz" lIns="128016" tIns="64008" rIns="128016" bIns="64008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0110" y="2555875"/>
            <a:ext cx="11041380" cy="6091873"/>
          </a:xfrm>
          <a:prstGeom prst="rect">
            <a:avLst/>
          </a:prstGeom>
        </p:spPr>
        <p:txBody>
          <a:bodyPr vert="horz" lIns="128016" tIns="64008" rIns="128016" bIns="64008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80110" y="8898891"/>
            <a:ext cx="2880360" cy="511175"/>
          </a:xfrm>
          <a:prstGeom prst="rect">
            <a:avLst/>
          </a:prstGeom>
        </p:spPr>
        <p:txBody>
          <a:bodyPr vert="horz" lIns="128016" tIns="64008" rIns="128016" bIns="64008" rtlCol="0" anchor="ctr"/>
          <a:lstStyle>
            <a:lvl1pPr algn="l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848907-1966-4A26-AC64-AAACD4B8710E}" type="datetimeFigureOut">
              <a:rPr lang="en-GB" smtClean="0"/>
              <a:t>04/04/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40530" y="8898891"/>
            <a:ext cx="4320540" cy="511175"/>
          </a:xfrm>
          <a:prstGeom prst="rect">
            <a:avLst/>
          </a:prstGeom>
        </p:spPr>
        <p:txBody>
          <a:bodyPr vert="horz" lIns="128016" tIns="64008" rIns="128016" bIns="64008" rtlCol="0" anchor="ctr"/>
          <a:lstStyle>
            <a:lvl1pPr algn="ct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1130" y="8898891"/>
            <a:ext cx="2880360" cy="511175"/>
          </a:xfrm>
          <a:prstGeom prst="rect">
            <a:avLst/>
          </a:prstGeom>
        </p:spPr>
        <p:txBody>
          <a:bodyPr vert="horz" lIns="128016" tIns="64008" rIns="128016" bIns="64008" rtlCol="0" anchor="ctr"/>
          <a:lstStyle>
            <a:lvl1pPr algn="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000F6F-EE41-49A8-9A1A-34C4605C6AA5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3016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</p:sldLayoutIdLst>
  <p:timing>
    <p:tnLst>
      <p:par>
        <p:cTn id="1" dur="indefinite" restart="never" nodeType="tmRoot"/>
      </p:par>
    </p:tnLst>
  </p:timing>
  <p:txStyles>
    <p:titleStyle>
      <a:lvl1pPr algn="l" defTabSz="1280160" rtl="0" eaLnBrk="1" latinLnBrk="0" hangingPunct="1">
        <a:lnSpc>
          <a:spcPct val="90000"/>
        </a:lnSpc>
        <a:spcBef>
          <a:spcPct val="0"/>
        </a:spcBef>
        <a:buNone/>
        <a:defRPr sz="6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0040" indent="-320040" algn="l" defTabSz="1280160" rtl="0" eaLnBrk="1" latinLnBrk="0" hangingPunct="1">
        <a:lnSpc>
          <a:spcPct val="90000"/>
        </a:lnSpc>
        <a:spcBef>
          <a:spcPts val="1400"/>
        </a:spcBef>
        <a:buFont typeface="Arial" panose="020B0604020202020204" pitchFamily="34" charset="0"/>
        <a:buChar char="•"/>
        <a:defRPr sz="3900" kern="1200">
          <a:solidFill>
            <a:schemeClr val="tx1"/>
          </a:solidFill>
          <a:latin typeface="+mn-lt"/>
          <a:ea typeface="+mn-ea"/>
          <a:cs typeface="+mn-cs"/>
        </a:defRPr>
      </a:lvl1pPr>
      <a:lvl2pPr marL="9601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2402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36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52044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6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/>
        </p:nvSpPr>
        <p:spPr>
          <a:xfrm>
            <a:off x="150506" y="8778145"/>
            <a:ext cx="604867" cy="511175"/>
          </a:xfrm>
          <a:prstGeom prst="rect">
            <a:avLst/>
          </a:prstGeom>
        </p:spPr>
        <p:txBody>
          <a:bodyPr vert="horz" lIns="128016" tIns="64008" rIns="128016" bIns="64008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3E27A0-6531-479A-B7C6-1AC2347D6923}" type="slidenum">
              <a:rPr kumimoji="0" lang="en-GB" sz="1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</a:rPr>
              <a:pPr marL="0" marR="0" lvl="0" indent="0" algn="r" defTabSz="12801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3">
            <a:alphaModFix amt="40000"/>
          </a:blip>
          <a:stretch>
            <a:fillRect/>
          </a:stretch>
        </p:blipFill>
        <p:spPr>
          <a:xfrm>
            <a:off x="7730597" y="8815149"/>
            <a:ext cx="1657096" cy="725424"/>
          </a:xfrm>
          <a:prstGeom prst="rect">
            <a:avLst/>
          </a:prstGeom>
        </p:spPr>
      </p:pic>
      <p:grpSp>
        <p:nvGrpSpPr>
          <p:cNvPr id="6" name="Group 5"/>
          <p:cNvGrpSpPr/>
          <p:nvPr userDrawn="1"/>
        </p:nvGrpSpPr>
        <p:grpSpPr>
          <a:xfrm>
            <a:off x="11115381" y="51782"/>
            <a:ext cx="1686219" cy="1211969"/>
            <a:chOff x="5523697" y="36987"/>
            <a:chExt cx="3620303" cy="2734270"/>
          </a:xfrm>
        </p:grpSpPr>
        <p:pic>
          <p:nvPicPr>
            <p:cNvPr id="2" name="Picture 1"/>
            <p:cNvPicPr>
              <a:picLocks noChangeAspect="1"/>
            </p:cNvPicPr>
            <p:nvPr userDrawn="1"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523697" y="36987"/>
              <a:ext cx="3620303" cy="2734270"/>
            </a:xfrm>
            <a:prstGeom prst="rect">
              <a:avLst/>
            </a:prstGeom>
          </p:spPr>
        </p:pic>
        <p:sp>
          <p:nvSpPr>
            <p:cNvPr id="5" name="Rectangle 4"/>
            <p:cNvSpPr/>
            <p:nvPr userDrawn="1"/>
          </p:nvSpPr>
          <p:spPr>
            <a:xfrm>
              <a:off x="8299191" y="2707267"/>
              <a:ext cx="802353" cy="6399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5">
            <a:alphaModFix amt="40000"/>
          </a:blip>
          <a:stretch>
            <a:fillRect/>
          </a:stretch>
        </p:blipFill>
        <p:spPr>
          <a:xfrm>
            <a:off x="4996249" y="8969172"/>
            <a:ext cx="2680335" cy="52006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6" cstate="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4038" y="8859055"/>
            <a:ext cx="1579347" cy="63263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7" cstate="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11744" y="9072032"/>
            <a:ext cx="2777975" cy="44922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8">
            <a:alphaModFix amt="40000"/>
          </a:blip>
          <a:stretch>
            <a:fillRect/>
          </a:stretch>
        </p:blipFill>
        <p:spPr>
          <a:xfrm>
            <a:off x="11115381" y="8851616"/>
            <a:ext cx="1653464" cy="594023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9" cstate="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541" y="8855071"/>
            <a:ext cx="2164851" cy="751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975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</p:sldLayoutIdLst>
  <p:timing>
    <p:tnLst>
      <p:par>
        <p:cTn id="1" dur="indefinite" restart="never" nodeType="tmRoot"/>
      </p:par>
    </p:tnLst>
  </p:timing>
  <p:txStyles>
    <p:titleStyle>
      <a:lvl1pPr algn="ctr" defTabSz="1280160" rtl="0" eaLnBrk="1" latinLnBrk="0" hangingPunct="1">
        <a:spcBef>
          <a:spcPct val="0"/>
        </a:spcBef>
        <a:buNone/>
        <a:defRPr sz="6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0060" indent="-48006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1pPr>
      <a:lvl2pPr marL="1040130" indent="-400050" algn="l" defTabSz="1280160" rtl="0" eaLnBrk="1" latinLnBrk="0" hangingPunct="1">
        <a:spcBef>
          <a:spcPct val="20000"/>
        </a:spcBef>
        <a:buFont typeface="Arial" panose="020B0604020202020204" pitchFamily="34" charset="0"/>
        <a:buChar char="–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0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3pPr>
      <a:lvl4pPr marL="224028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36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2044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2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68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2439" y="452764"/>
            <a:ext cx="2002741" cy="631253"/>
          </a:xfrm>
          <a:prstGeom prst="rect">
            <a:avLst/>
          </a:prstGeom>
        </p:spPr>
      </p:pic>
      <p:sp>
        <p:nvSpPr>
          <p:cNvPr id="3" name="Slide Number Placeholder 3"/>
          <p:cNvSpPr txBox="1">
            <a:spLocks/>
          </p:cNvSpPr>
          <p:nvPr/>
        </p:nvSpPr>
        <p:spPr>
          <a:xfrm>
            <a:off x="150506" y="8778145"/>
            <a:ext cx="604867" cy="511175"/>
          </a:xfrm>
          <a:prstGeom prst="rect">
            <a:avLst/>
          </a:prstGeom>
        </p:spPr>
        <p:txBody>
          <a:bodyPr vert="horz" lIns="128016" tIns="64008" rIns="128016" bIns="64008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3E27A0-6531-479A-B7C6-1AC2347D6923}" type="slidenum">
              <a:rPr kumimoji="0" lang="en-GB" sz="1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</a:rPr>
              <a:pPr marL="0" marR="0" lvl="0" indent="0" algn="r" defTabSz="12801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87807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1280160" rtl="0" eaLnBrk="1" latinLnBrk="0" hangingPunct="1">
        <a:spcBef>
          <a:spcPct val="0"/>
        </a:spcBef>
        <a:buNone/>
        <a:defRPr sz="6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0060" indent="-48006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1pPr>
      <a:lvl2pPr marL="1040130" indent="-400050" algn="l" defTabSz="1280160" rtl="0" eaLnBrk="1" latinLnBrk="0" hangingPunct="1">
        <a:spcBef>
          <a:spcPct val="20000"/>
        </a:spcBef>
        <a:buFont typeface="Arial" panose="020B0604020202020204" pitchFamily="34" charset="0"/>
        <a:buChar char="–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0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3pPr>
      <a:lvl4pPr marL="224028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36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2044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2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68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933" y="-22364"/>
            <a:ext cx="8284906" cy="96012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2439" y="452764"/>
            <a:ext cx="2002741" cy="631253"/>
          </a:xfrm>
          <a:prstGeom prst="rect">
            <a:avLst/>
          </a:prstGeom>
        </p:spPr>
      </p:pic>
      <p:sp>
        <p:nvSpPr>
          <p:cNvPr id="4" name="Slide Number Placeholder 3"/>
          <p:cNvSpPr txBox="1">
            <a:spLocks/>
          </p:cNvSpPr>
          <p:nvPr/>
        </p:nvSpPr>
        <p:spPr>
          <a:xfrm>
            <a:off x="150506" y="8778145"/>
            <a:ext cx="604867" cy="511175"/>
          </a:xfrm>
          <a:prstGeom prst="rect">
            <a:avLst/>
          </a:prstGeom>
        </p:spPr>
        <p:txBody>
          <a:bodyPr vert="horz" lIns="128016" tIns="64008" rIns="128016" bIns="64008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3E27A0-6531-479A-B7C6-1AC2347D6923}" type="slidenum">
              <a:rPr kumimoji="0" lang="en-GB" sz="17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</a:rPr>
              <a:pPr marL="0" marR="0" lvl="0" indent="0" algn="r" defTabSz="12801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7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27414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1280160" rtl="0" eaLnBrk="1" latinLnBrk="0" hangingPunct="1">
        <a:spcBef>
          <a:spcPct val="0"/>
        </a:spcBef>
        <a:buNone/>
        <a:defRPr sz="6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0060" indent="-48006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1pPr>
      <a:lvl2pPr marL="1040130" indent="-400050" algn="l" defTabSz="1280160" rtl="0" eaLnBrk="1" latinLnBrk="0" hangingPunct="1">
        <a:spcBef>
          <a:spcPct val="20000"/>
        </a:spcBef>
        <a:buFont typeface="Arial" panose="020B0604020202020204" pitchFamily="34" charset="0"/>
        <a:buChar char="–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0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3pPr>
      <a:lvl4pPr marL="224028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36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2044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2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68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4" cstate="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1572" y="8904707"/>
            <a:ext cx="2777975" cy="44922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5">
            <a:alphaModFix amt="40000"/>
          </a:blip>
          <a:stretch>
            <a:fillRect/>
          </a:stretch>
        </p:blipFill>
        <p:spPr>
          <a:xfrm>
            <a:off x="10538692" y="8736720"/>
            <a:ext cx="1653464" cy="59402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09965" y="78771"/>
            <a:ext cx="891492" cy="880802"/>
          </a:xfrm>
          <a:prstGeom prst="rect">
            <a:avLst/>
          </a:prstGeom>
        </p:spPr>
      </p:pic>
      <p:pic>
        <p:nvPicPr>
          <p:cNvPr id="1026" name="Picture 2" descr="Anna Freud Centre - Caring for young minds"/>
          <p:cNvPicPr>
            <a:picLocks noChangeAspect="1" noChangeArrowheads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915" y="8778144"/>
            <a:ext cx="2179575" cy="667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8615" y="8638576"/>
            <a:ext cx="1743829" cy="867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461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</p:sldLayoutIdLst>
  <p:timing>
    <p:tnLst>
      <p:par>
        <p:cTn id="1" dur="indefinite" restart="never" nodeType="tmRoot"/>
      </p:par>
    </p:tnLst>
  </p:timing>
  <p:txStyles>
    <p:titleStyle>
      <a:lvl1pPr algn="ctr" defTabSz="1280160" rtl="0" eaLnBrk="1" latinLnBrk="0" hangingPunct="1">
        <a:spcBef>
          <a:spcPct val="0"/>
        </a:spcBef>
        <a:buNone/>
        <a:defRPr sz="6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0060" indent="-48006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1pPr>
      <a:lvl2pPr marL="1040130" indent="-400050" algn="l" defTabSz="1280160" rtl="0" eaLnBrk="1" latinLnBrk="0" hangingPunct="1">
        <a:spcBef>
          <a:spcPct val="20000"/>
        </a:spcBef>
        <a:buFont typeface="Arial" panose="020B0604020202020204" pitchFamily="34" charset="0"/>
        <a:buChar char="–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0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3pPr>
      <a:lvl4pPr marL="224028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36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2044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2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68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/>
        </p:nvSpPr>
        <p:spPr>
          <a:xfrm>
            <a:off x="150506" y="8778145"/>
            <a:ext cx="604867" cy="511175"/>
          </a:xfrm>
          <a:prstGeom prst="rect">
            <a:avLst/>
          </a:prstGeom>
        </p:spPr>
        <p:txBody>
          <a:bodyPr vert="horz" lIns="128016" tIns="64008" rIns="128016" bIns="64008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03E27A0-6531-479A-B7C6-1AC2347D692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4" cstate="print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1572" y="8904707"/>
            <a:ext cx="2777975" cy="44922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5">
            <a:alphaModFix amt="40000"/>
          </a:blip>
          <a:stretch>
            <a:fillRect/>
          </a:stretch>
        </p:blipFill>
        <p:spPr>
          <a:xfrm>
            <a:off x="10538692" y="8736720"/>
            <a:ext cx="1653464" cy="59402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09965" y="78771"/>
            <a:ext cx="891492" cy="880802"/>
          </a:xfrm>
          <a:prstGeom prst="rect">
            <a:avLst/>
          </a:prstGeom>
        </p:spPr>
      </p:pic>
      <p:pic>
        <p:nvPicPr>
          <p:cNvPr id="1026" name="Picture 2" descr="Anna Freud Centre - Caring for young minds"/>
          <p:cNvPicPr>
            <a:picLocks noChangeAspect="1" noChangeArrowheads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915" y="8778144"/>
            <a:ext cx="2179575" cy="667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8615" y="8638576"/>
            <a:ext cx="1743829" cy="867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139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</p:sldLayoutIdLst>
  <p:txStyles>
    <p:titleStyle>
      <a:lvl1pPr algn="ctr" defTabSz="1280160" rtl="0" eaLnBrk="1" latinLnBrk="0" hangingPunct="1">
        <a:spcBef>
          <a:spcPct val="0"/>
        </a:spcBef>
        <a:buNone/>
        <a:defRPr sz="6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0060" indent="-48006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1pPr>
      <a:lvl2pPr marL="1040130" indent="-400050" algn="l" defTabSz="1280160" rtl="0" eaLnBrk="1" latinLnBrk="0" hangingPunct="1">
        <a:spcBef>
          <a:spcPct val="20000"/>
        </a:spcBef>
        <a:buFont typeface="Arial" panose="020B0604020202020204" pitchFamily="34" charset="0"/>
        <a:buChar char="–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0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3pPr>
      <a:lvl4pPr marL="224028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36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2044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2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68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/>
        </p:nvGrpSpPr>
        <p:grpSpPr>
          <a:xfrm>
            <a:off x="1806223" y="201004"/>
            <a:ext cx="9346250" cy="8748822"/>
            <a:chOff x="1806223" y="201004"/>
            <a:chExt cx="9346250" cy="8748822"/>
          </a:xfrm>
        </p:grpSpPr>
        <p:sp>
          <p:nvSpPr>
            <p:cNvPr id="12" name="Pie 11"/>
            <p:cNvSpPr/>
            <p:nvPr/>
          </p:nvSpPr>
          <p:spPr>
            <a:xfrm rot="5400000">
              <a:off x="2104937" y="-97710"/>
              <a:ext cx="8748822" cy="9346250"/>
            </a:xfrm>
            <a:prstGeom prst="pie">
              <a:avLst>
                <a:gd name="adj1" fmla="val 10795933"/>
                <a:gd name="adj2" fmla="val 16187202"/>
              </a:avLst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7673408" y="2559598"/>
              <a:ext cx="2564524" cy="4770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dirty="0" smtClean="0">
                  <a:latin typeface="Arial" panose="020B0604020202020204" pitchFamily="34" charset="0"/>
                  <a:cs typeface="Arial" panose="020B0604020202020204" pitchFamily="34" charset="0"/>
                </a:rPr>
                <a:t>Getting Help</a:t>
              </a:r>
              <a:endParaRPr lang="en-GB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6" name="Pie 15"/>
          <p:cNvSpPr/>
          <p:nvPr/>
        </p:nvSpPr>
        <p:spPr>
          <a:xfrm rot="10800000">
            <a:off x="1889054" y="548638"/>
            <a:ext cx="9263416" cy="8761696"/>
          </a:xfrm>
          <a:prstGeom prst="pie">
            <a:avLst>
              <a:gd name="adj1" fmla="val 10796245"/>
              <a:gd name="adj2" fmla="val 16200000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7" name="Pie 16"/>
          <p:cNvSpPr/>
          <p:nvPr/>
        </p:nvSpPr>
        <p:spPr>
          <a:xfrm>
            <a:off x="1477333" y="201002"/>
            <a:ext cx="9191687" cy="8695074"/>
          </a:xfrm>
          <a:prstGeom prst="pie">
            <a:avLst>
              <a:gd name="adj1" fmla="val 10781310"/>
              <a:gd name="adj2" fmla="val 1620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5" name="TextBox 41"/>
          <p:cNvSpPr txBox="1"/>
          <p:nvPr/>
        </p:nvSpPr>
        <p:spPr>
          <a:xfrm>
            <a:off x="7673408" y="6513099"/>
            <a:ext cx="2566637" cy="8725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Aft>
                <a:spcPts val="0"/>
              </a:spcAft>
            </a:pPr>
            <a:r>
              <a:rPr lang="en-US" kern="1200" dirty="0">
                <a:effectLst/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Getting</a:t>
            </a:r>
            <a:endParaRPr lang="en-GB" dirty="0">
              <a:effectLst/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  <a:p>
            <a:pPr>
              <a:spcAft>
                <a:spcPts val="0"/>
              </a:spcAft>
            </a:pPr>
            <a:r>
              <a:rPr lang="en-US" kern="1200" dirty="0">
                <a:effectLst/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More Help</a:t>
            </a:r>
            <a:endParaRPr lang="en-GB" dirty="0">
              <a:effectLst/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639231" y="2276463"/>
            <a:ext cx="229594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Getting Advice and Signposting</a:t>
            </a:r>
            <a:endParaRPr lang="en-GB" dirty="0"/>
          </a:p>
        </p:txBody>
      </p:sp>
      <p:grpSp>
        <p:nvGrpSpPr>
          <p:cNvPr id="43" name="Group 42"/>
          <p:cNvGrpSpPr/>
          <p:nvPr/>
        </p:nvGrpSpPr>
        <p:grpSpPr>
          <a:xfrm>
            <a:off x="1494923" y="570679"/>
            <a:ext cx="9182891" cy="8761697"/>
            <a:chOff x="1494923" y="570679"/>
            <a:chExt cx="9182891" cy="8761697"/>
          </a:xfrm>
        </p:grpSpPr>
        <p:sp>
          <p:nvSpPr>
            <p:cNvPr id="15" name="Pie 14"/>
            <p:cNvSpPr/>
            <p:nvPr/>
          </p:nvSpPr>
          <p:spPr>
            <a:xfrm rot="16200000">
              <a:off x="1705520" y="360082"/>
              <a:ext cx="8761697" cy="9182891"/>
            </a:xfrm>
            <a:prstGeom prst="pie">
              <a:avLst>
                <a:gd name="adj1" fmla="val 10797660"/>
                <a:gd name="adj2" fmla="val 16200000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3129663" y="6618803"/>
              <a:ext cx="2510838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dirty="0" smtClean="0">
                  <a:latin typeface="Arial" panose="020B0604020202020204" pitchFamily="34" charset="0"/>
                  <a:cs typeface="Arial" panose="020B0604020202020204" pitchFamily="34" charset="0"/>
                </a:rPr>
                <a:t>Getting Risk Support</a:t>
              </a:r>
              <a:endParaRPr lang="en-GB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4734457" y="3300622"/>
            <a:ext cx="3129412" cy="2948507"/>
            <a:chOff x="4734457" y="3300622"/>
            <a:chExt cx="3129412" cy="2948507"/>
          </a:xfrm>
        </p:grpSpPr>
        <p:grpSp>
          <p:nvGrpSpPr>
            <p:cNvPr id="2" name="Group 1"/>
            <p:cNvGrpSpPr/>
            <p:nvPr/>
          </p:nvGrpSpPr>
          <p:grpSpPr>
            <a:xfrm>
              <a:off x="4734457" y="3300622"/>
              <a:ext cx="3129412" cy="2948507"/>
              <a:chOff x="9239357" y="397414"/>
              <a:chExt cx="2880000" cy="2880000"/>
            </a:xfrm>
          </p:grpSpPr>
          <p:sp>
            <p:nvSpPr>
              <p:cNvPr id="18" name="Oval 17"/>
              <p:cNvSpPr/>
              <p:nvPr/>
            </p:nvSpPr>
            <p:spPr>
              <a:xfrm>
                <a:off x="9239357" y="397414"/>
                <a:ext cx="2880000" cy="288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dirty="0" smtClean="0"/>
                  <a:t>                                                         </a:t>
                </a:r>
                <a:endParaRPr lang="en-GB" dirty="0"/>
              </a:p>
            </p:txBody>
          </p:sp>
          <p:sp>
            <p:nvSpPr>
              <p:cNvPr id="8" name="Oval 7"/>
              <p:cNvSpPr/>
              <p:nvPr/>
            </p:nvSpPr>
            <p:spPr>
              <a:xfrm>
                <a:off x="9424077" y="565740"/>
                <a:ext cx="2519999" cy="2519597"/>
              </a:xfrm>
              <a:prstGeom prst="ellipse">
                <a:avLst/>
              </a:prstGeom>
              <a:solidFill>
                <a:srgbClr val="F8F2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dirty="0" smtClean="0"/>
                  <a:t>                                                         </a:t>
                </a:r>
                <a:endParaRPr lang="en-GB" dirty="0"/>
              </a:p>
            </p:txBody>
          </p:sp>
        </p:grpSp>
        <p:sp>
          <p:nvSpPr>
            <p:cNvPr id="4" name="TextBox 3"/>
            <p:cNvSpPr txBox="1"/>
            <p:nvPr/>
          </p:nvSpPr>
          <p:spPr>
            <a:xfrm>
              <a:off x="5640501" y="4468051"/>
              <a:ext cx="1513490" cy="4834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dirty="0" smtClean="0">
                  <a:latin typeface="Arial" panose="020B0604020202020204" pitchFamily="34" charset="0"/>
                  <a:cs typeface="Arial" panose="020B0604020202020204" pitchFamily="34" charset="0"/>
                </a:rPr>
                <a:t>Thriving</a:t>
              </a:r>
              <a:endParaRPr lang="en-GB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99765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OTkXX8ykW0OkSpTeZB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OTkXX8ykW0OkSpTeZB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OTkXX8ykW0OkSpTeZB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OTkXX8ykW0OkSpTeZBXQ"/>
</p:tagLst>
</file>

<file path=ppt/theme/theme1.xml><?xml version="1.0" encoding="utf-8"?>
<a:theme xmlns:a="http://schemas.openxmlformats.org/drawingml/2006/main" name="PHE Newham resilience Mar 2014">
  <a:themeElements>
    <a:clrScheme name="UCLPartners colours">
      <a:dk1>
        <a:sysClr val="windowText" lastClr="000000"/>
      </a:dk1>
      <a:lt1>
        <a:sysClr val="window" lastClr="FFFFFF"/>
      </a:lt1>
      <a:dk2>
        <a:srgbClr val="006298"/>
      </a:dk2>
      <a:lt2>
        <a:srgbClr val="D0CFCF"/>
      </a:lt2>
      <a:accent1>
        <a:srgbClr val="A4D620"/>
      </a:accent1>
      <a:accent2>
        <a:srgbClr val="41B6E6"/>
      </a:accent2>
      <a:accent3>
        <a:srgbClr val="FF9900"/>
      </a:accent3>
      <a:accent4>
        <a:srgbClr val="F32F79"/>
      </a:accent4>
      <a:accent5>
        <a:srgbClr val="781D7D"/>
      </a:accent5>
      <a:accent6>
        <a:srgbClr val="CF2D47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DM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PHE Newham resilience Mar 2014">
  <a:themeElements>
    <a:clrScheme name="UCLPartners colours">
      <a:dk1>
        <a:sysClr val="windowText" lastClr="000000"/>
      </a:dk1>
      <a:lt1>
        <a:sysClr val="window" lastClr="FFFFFF"/>
      </a:lt1>
      <a:dk2>
        <a:srgbClr val="006298"/>
      </a:dk2>
      <a:lt2>
        <a:srgbClr val="D0CFCF"/>
      </a:lt2>
      <a:accent1>
        <a:srgbClr val="A4D620"/>
      </a:accent1>
      <a:accent2>
        <a:srgbClr val="41B6E6"/>
      </a:accent2>
      <a:accent3>
        <a:srgbClr val="FF9900"/>
      </a:accent3>
      <a:accent4>
        <a:srgbClr val="F32F79"/>
      </a:accent4>
      <a:accent5>
        <a:srgbClr val="781D7D"/>
      </a:accent5>
      <a:accent6>
        <a:srgbClr val="CF2D47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UCLPartners opening slides">
  <a:themeElements>
    <a:clrScheme name="UCLPartners colours">
      <a:dk1>
        <a:sysClr val="windowText" lastClr="000000"/>
      </a:dk1>
      <a:lt1>
        <a:sysClr val="window" lastClr="FFFFFF"/>
      </a:lt1>
      <a:dk2>
        <a:srgbClr val="006298"/>
      </a:dk2>
      <a:lt2>
        <a:srgbClr val="D0CFCF"/>
      </a:lt2>
      <a:accent1>
        <a:srgbClr val="A4D620"/>
      </a:accent1>
      <a:accent2>
        <a:srgbClr val="41B6E6"/>
      </a:accent2>
      <a:accent3>
        <a:srgbClr val="FF9900"/>
      </a:accent3>
      <a:accent4>
        <a:srgbClr val="F32F79"/>
      </a:accent4>
      <a:accent5>
        <a:srgbClr val="781D7D"/>
      </a:accent5>
      <a:accent6>
        <a:srgbClr val="CF2D47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UCLPartners closing slide">
  <a:themeElements>
    <a:clrScheme name="UCLPartners colours">
      <a:dk1>
        <a:sysClr val="windowText" lastClr="000000"/>
      </a:dk1>
      <a:lt1>
        <a:sysClr val="window" lastClr="FFFFFF"/>
      </a:lt1>
      <a:dk2>
        <a:srgbClr val="006298"/>
      </a:dk2>
      <a:lt2>
        <a:srgbClr val="D0CFCF"/>
      </a:lt2>
      <a:accent1>
        <a:srgbClr val="A4D620"/>
      </a:accent1>
      <a:accent2>
        <a:srgbClr val="41B6E6"/>
      </a:accent2>
      <a:accent3>
        <a:srgbClr val="FF9900"/>
      </a:accent3>
      <a:accent4>
        <a:srgbClr val="F32F79"/>
      </a:accent4>
      <a:accent5>
        <a:srgbClr val="781D7D"/>
      </a:accent5>
      <a:accent6>
        <a:srgbClr val="CF2D47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2_PHE Newham resilience Mar 2014">
  <a:themeElements>
    <a:clrScheme name="UCLPartners colours">
      <a:dk1>
        <a:sysClr val="windowText" lastClr="000000"/>
      </a:dk1>
      <a:lt1>
        <a:sysClr val="window" lastClr="FFFFFF"/>
      </a:lt1>
      <a:dk2>
        <a:srgbClr val="006298"/>
      </a:dk2>
      <a:lt2>
        <a:srgbClr val="D0CFCF"/>
      </a:lt2>
      <a:accent1>
        <a:srgbClr val="A4D620"/>
      </a:accent1>
      <a:accent2>
        <a:srgbClr val="41B6E6"/>
      </a:accent2>
      <a:accent3>
        <a:srgbClr val="FF9900"/>
      </a:accent3>
      <a:accent4>
        <a:srgbClr val="F32F79"/>
      </a:accent4>
      <a:accent5>
        <a:srgbClr val="781D7D"/>
      </a:accent5>
      <a:accent6>
        <a:srgbClr val="CF2D47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3_PHE Newham resilience Mar 2014">
  <a:themeElements>
    <a:clrScheme name="UCLPartners colours">
      <a:dk1>
        <a:sysClr val="windowText" lastClr="000000"/>
      </a:dk1>
      <a:lt1>
        <a:sysClr val="window" lastClr="FFFFFF"/>
      </a:lt1>
      <a:dk2>
        <a:srgbClr val="006298"/>
      </a:dk2>
      <a:lt2>
        <a:srgbClr val="D0CFCF"/>
      </a:lt2>
      <a:accent1>
        <a:srgbClr val="A4D620"/>
      </a:accent1>
      <a:accent2>
        <a:srgbClr val="41B6E6"/>
      </a:accent2>
      <a:accent3>
        <a:srgbClr val="FF9900"/>
      </a:accent3>
      <a:accent4>
        <a:srgbClr val="F32F79"/>
      </a:accent4>
      <a:accent5>
        <a:srgbClr val="781D7D"/>
      </a:accent5>
      <a:accent6>
        <a:srgbClr val="CF2D47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.thmx</Template>
  <TotalTime>58738</TotalTime>
  <Words>15</Words>
  <Application>Microsoft Office PowerPoint</Application>
  <PresentationFormat>A3 Paper (297x420 mm)</PresentationFormat>
  <Paragraphs>8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7</vt:i4>
      </vt:variant>
      <vt:variant>
        <vt:lpstr>Slide Titles</vt:lpstr>
      </vt:variant>
      <vt:variant>
        <vt:i4>1</vt:i4>
      </vt:variant>
    </vt:vector>
  </HeadingPairs>
  <TitlesOfParts>
    <vt:vector size="13" baseType="lpstr">
      <vt:lpstr>Arial</vt:lpstr>
      <vt:lpstr>Calibri</vt:lpstr>
      <vt:lpstr>Calibri Light</vt:lpstr>
      <vt:lpstr>Courier New</vt:lpstr>
      <vt:lpstr>Times New Roman</vt:lpstr>
      <vt:lpstr>PHE Newham resilience Mar 2014</vt:lpstr>
      <vt:lpstr>SDM</vt:lpstr>
      <vt:lpstr>1_PHE Newham resilience Mar 2014</vt:lpstr>
      <vt:lpstr>UCLPartners opening slides</vt:lpstr>
      <vt:lpstr>UCLPartners closing slide</vt:lpstr>
      <vt:lpstr>2_PHE Newham resilience Mar 2014</vt:lpstr>
      <vt:lpstr>3_PHE Newham resilience Mar 2014</vt:lpstr>
      <vt:lpstr>PowerPoint Presentation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na Moore</dc:creator>
  <cp:lastModifiedBy>Bethan Morris</cp:lastModifiedBy>
  <cp:revision>1791</cp:revision>
  <cp:lastPrinted>2015-07-22T16:33:04Z</cp:lastPrinted>
  <dcterms:created xsi:type="dcterms:W3CDTF">2015-07-09T07:15:21Z</dcterms:created>
  <dcterms:modified xsi:type="dcterms:W3CDTF">2018-04-04T11:05:55Z</dcterms:modified>
</cp:coreProperties>
</file>